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xml" ContentType="application/vnd.openxmlformats-officedocument.presentationml.tags+xml"/>
  <Override PartName="/ppt/notesSlides/notesSlide1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93" r:id="rId5"/>
    <p:sldMasterId id="2147483708" r:id="rId6"/>
    <p:sldMasterId id="2147483725" r:id="rId7"/>
  </p:sldMasterIdLst>
  <p:notesMasterIdLst>
    <p:notesMasterId r:id="rId18"/>
  </p:notesMasterIdLst>
  <p:handoutMasterIdLst>
    <p:handoutMasterId r:id="rId19"/>
  </p:handoutMasterIdLst>
  <p:sldIdLst>
    <p:sldId id="2147309472" r:id="rId8"/>
    <p:sldId id="2147309473" r:id="rId9"/>
    <p:sldId id="2147309474" r:id="rId10"/>
    <p:sldId id="2147309479" r:id="rId11"/>
    <p:sldId id="2147309475" r:id="rId12"/>
    <p:sldId id="2147309477" r:id="rId13"/>
    <p:sldId id="2147309476" r:id="rId14"/>
    <p:sldId id="2147309480" r:id="rId15"/>
    <p:sldId id="2147309481" r:id="rId16"/>
    <p:sldId id="2147309471" r:id="rId17"/>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2" userDrawn="1">
          <p15:clr>
            <a:srgbClr val="A4A3A4"/>
          </p15:clr>
        </p15:guide>
        <p15:guide id="2" pos="1584"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A760301-24B2-68B4-BDBD-197F626DEDDB}" name="Tina Sturgis" initials="TS" userId="S::tina.sturgis@digital.ai::9bc3b192-0a6b-4add-80d1-8432ae78af83" providerId="AD"/>
  <p188:author id="{074F2E13-0247-4E45-697D-08A3E691B5AF}" name="Derek Holt" initials="DH" userId="S::dholt@digital.ai::09fdbae8-eff4-4bfa-ab9a-d09061db28d2" providerId="AD"/>
  <p188:author id="{C0610121-32F6-B876-3EE0-0B3534BD43A5}" name="Jeff Moloughney" initials="JM" userId="S::jmoloughney@digital.ai::a60ff039-8b37-432f-8f4d-ee68350c9a7d" providerId="AD"/>
  <p188:author id="{DDBA5627-C27F-10E5-1579-97073B8ADB27}" name="Stephen Elop" initials="SE" userId="S::selop@digital.ai::2e6e4a1c-f8f3-4660-b6e8-06ad0119e2d9" providerId="AD"/>
  <p188:author id="{9F5B134F-B7F6-D71F-5EFB-462EA3FCA5EB}" name="Robert Alford" initials="RA" userId="S::ralford@digital.ai::f8dea386-d3f9-43b3-8f83-ea77559a7255" providerId="AD"/>
  <p188:author id="{43A21768-DCFD-4A32-0510-63D3621E7665}" name="Prasenjit Dasgupta" initials="PD" userId="S::pdasgupta@digital.ai::97adeae8-98be-4aef-8bc2-8cd44c796c95" providerId="AD"/>
  <p188:author id="{D978B47D-BB90-10EB-1061-888164C0D6B8}" name="Aviad Arviv" initials="AA" userId="S::aarviv@digital.ai::ac862bb3-36f6-4393-a8f4-5e6ceabd8d5c" providerId="AD"/>
  <p188:author id="{A23914CC-5702-51D0-B03C-F16CCA300407}" name="Robert Alford" initials="RA" userId="Robert Alford" providerId="None"/>
  <p188:author id="{D66EC9D4-FA8F-FDBF-D5A9-4DE933D9EEA2}" name="Adam Kentosh" initials="AK" userId="S::adam.kentosh@digital.ai::e8e78893-782d-43b4-83ee-69198797eae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hannon Mason" initials="SM" lastIdx="25" clrIdx="0">
    <p:extLst>
      <p:ext uri="{19B8F6BF-5375-455C-9EA6-DF929625EA0E}">
        <p15:presenceInfo xmlns:p15="http://schemas.microsoft.com/office/powerpoint/2012/main" userId="S::smason@digital.ai::3d3ce9e0-d303-47cd-962d-7ab7d938cc65" providerId="AD"/>
      </p:ext>
    </p:extLst>
  </p:cmAuthor>
  <p:cmAuthor id="2" name="Stephen Gregorio" initials="SG" lastIdx="3" clrIdx="1">
    <p:extLst>
      <p:ext uri="{19B8F6BF-5375-455C-9EA6-DF929625EA0E}">
        <p15:presenceInfo xmlns:p15="http://schemas.microsoft.com/office/powerpoint/2012/main" userId="S::stephen.gregorio@digital.ai::58dd1d2b-4840-41cb-9e9f-cbbf04022362" providerId="AD"/>
      </p:ext>
    </p:extLst>
  </p:cmAuthor>
  <p:cmAuthor id="3" name="Mark Lorion" initials="ML" lastIdx="1" clrIdx="2">
    <p:extLst>
      <p:ext uri="{19B8F6BF-5375-455C-9EA6-DF929625EA0E}">
        <p15:presenceInfo xmlns:p15="http://schemas.microsoft.com/office/powerpoint/2012/main" userId="S::mlorion@digital.ai::706e2a47-3778-403a-a41d-715f95a94347" providerId="AD"/>
      </p:ext>
    </p:extLst>
  </p:cmAuthor>
  <p:cmAuthor id="4" name="Jennifer Staretorp" initials="JS" lastIdx="3" clrIdx="3">
    <p:extLst>
      <p:ext uri="{19B8F6BF-5375-455C-9EA6-DF929625EA0E}">
        <p15:presenceInfo xmlns:p15="http://schemas.microsoft.com/office/powerpoint/2012/main" userId="S::jstaretorp@digital.ai::e7206b74-b3a0-4fa7-a114-8dd9ea33d1a9" providerId="AD"/>
      </p:ext>
    </p:extLst>
  </p:cmAuthor>
  <p:cmAuthor id="5" name="Derek Langone" initials="DL" lastIdx="7" clrIdx="4">
    <p:extLst>
      <p:ext uri="{19B8F6BF-5375-455C-9EA6-DF929625EA0E}">
        <p15:presenceInfo xmlns:p15="http://schemas.microsoft.com/office/powerpoint/2012/main" userId="S::dlangone@digital.ai::46425931-eaee-4854-a6d3-a437bc1cbb97" providerId="AD"/>
      </p:ext>
    </p:extLst>
  </p:cmAuthor>
  <p:cmAuthor id="6" name="Tiffany Early" initials="TE" lastIdx="1" clrIdx="5">
    <p:extLst>
      <p:ext uri="{19B8F6BF-5375-455C-9EA6-DF929625EA0E}">
        <p15:presenceInfo xmlns:p15="http://schemas.microsoft.com/office/powerpoint/2012/main" userId="S::tearly@digital.ai::841c70ca-cf1e-45e7-854b-8d36bb1a2ce6" providerId="AD"/>
      </p:ext>
    </p:extLst>
  </p:cmAuthor>
  <p:cmAuthor id="7" name="Saleem Padani" initials="SP" lastIdx="2" clrIdx="6">
    <p:extLst>
      <p:ext uri="{19B8F6BF-5375-455C-9EA6-DF929625EA0E}">
        <p15:presenceInfo xmlns:p15="http://schemas.microsoft.com/office/powerpoint/2012/main" userId="Saleem Padani" providerId="None"/>
      </p:ext>
    </p:extLst>
  </p:cmAuthor>
  <p:cmAuthor id="8" name="Aviad Arviv" initials="AA" lastIdx="28" clrIdx="7">
    <p:extLst>
      <p:ext uri="{19B8F6BF-5375-455C-9EA6-DF929625EA0E}">
        <p15:presenceInfo xmlns:p15="http://schemas.microsoft.com/office/powerpoint/2012/main" userId="S::aarviv@digital.ai::ac862bb3-36f6-4393-a8f4-5e6ceabd8d5c" providerId="AD"/>
      </p:ext>
    </p:extLst>
  </p:cmAuthor>
  <p:cmAuthor id="9" name="Derek Holt" initials="DH" lastIdx="1" clrIdx="8">
    <p:extLst>
      <p:ext uri="{19B8F6BF-5375-455C-9EA6-DF929625EA0E}">
        <p15:presenceInfo xmlns:p15="http://schemas.microsoft.com/office/powerpoint/2012/main" userId="S::dholt@digital.ai::09fdbae8-eff4-4bfa-ab9a-d09061db28d2" providerId="AD"/>
      </p:ext>
    </p:extLst>
  </p:cmAuthor>
  <p:cmAuthor id="10" name="Ron Trackey" initials="RT [2]" lastIdx="4" clrIdx="9">
    <p:extLst>
      <p:ext uri="{19B8F6BF-5375-455C-9EA6-DF929625EA0E}">
        <p15:presenceInfo xmlns:p15="http://schemas.microsoft.com/office/powerpoint/2012/main" userId="S::rtrackey@devopsai.onmicrosoft.com::0a2a569e-6abc-4e5c-bc00-8fa375f88593" providerId="AD"/>
      </p:ext>
    </p:extLst>
  </p:cmAuthor>
  <p:cmAuthor id="11" name="Srikant Gokulnatha" initials="SG" lastIdx="12" clrIdx="10">
    <p:extLst>
      <p:ext uri="{19B8F6BF-5375-455C-9EA6-DF929625EA0E}">
        <p15:presenceInfo xmlns:p15="http://schemas.microsoft.com/office/powerpoint/2012/main" userId="S::sgokulnatha@digital.ai::9dadc7b1-b5c6-468f-9397-fcb45338c326" providerId="AD"/>
      </p:ext>
    </p:extLst>
  </p:cmAuthor>
  <p:cmAuthor id="12" name="Florian Schouten" initials="FS" lastIdx="15" clrIdx="11">
    <p:extLst>
      <p:ext uri="{19B8F6BF-5375-455C-9EA6-DF929625EA0E}">
        <p15:presenceInfo xmlns:p15="http://schemas.microsoft.com/office/powerpoint/2012/main" userId="S::fschouten@digital.ai::a22814c5-810d-4af1-bc19-ac9c6faaf2b2" providerId="AD"/>
      </p:ext>
    </p:extLst>
  </p:cmAuthor>
  <p:cmAuthor id="13" name="Ron Trackey" initials="RT" lastIdx="11" clrIdx="12">
    <p:extLst>
      <p:ext uri="{19B8F6BF-5375-455C-9EA6-DF929625EA0E}">
        <p15:presenceInfo xmlns:p15="http://schemas.microsoft.com/office/powerpoint/2012/main" userId="S::rtrackey@digital.ai::0a2a569e-6abc-4e5c-bc00-8fa375f88593" providerId="AD"/>
      </p:ext>
    </p:extLst>
  </p:cmAuthor>
  <p:cmAuthor id="14" name="Robert Alford" initials="RA" lastIdx="2" clrIdx="13">
    <p:extLst>
      <p:ext uri="{19B8F6BF-5375-455C-9EA6-DF929625EA0E}">
        <p15:presenceInfo xmlns:p15="http://schemas.microsoft.com/office/powerpoint/2012/main" userId="Robert Alford" providerId="None"/>
      </p:ext>
    </p:extLst>
  </p:cmAuthor>
  <p:cmAuthor id="15" name="Jeff Moloughney" initials="JM" lastIdx="1" clrIdx="14">
    <p:extLst>
      <p:ext uri="{19B8F6BF-5375-455C-9EA6-DF929625EA0E}">
        <p15:presenceInfo xmlns:p15="http://schemas.microsoft.com/office/powerpoint/2012/main" userId="S::jmoloughney@digital.ai::a60ff039-8b37-432f-8f4d-ee68350c9a7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72330"/>
    <a:srgbClr val="0F4667"/>
    <a:srgbClr val="3A485B"/>
    <a:srgbClr val="03408A"/>
    <a:srgbClr val="F3F3F3"/>
    <a:srgbClr val="75A550"/>
    <a:srgbClr val="649A3C"/>
    <a:srgbClr val="3C6B9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DDC8404-AA28-2543-8AF7-7592F7E3BAC2}" v="12" dt="2023-05-16T08:22:59.59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69785"/>
  </p:normalViewPr>
  <p:slideViewPr>
    <p:cSldViewPr snapToGrid="0">
      <p:cViewPr varScale="1">
        <p:scale>
          <a:sx n="108" d="100"/>
          <a:sy n="108" d="100"/>
        </p:scale>
        <p:origin x="1952" y="184"/>
      </p:cViewPr>
      <p:guideLst>
        <p:guide orient="horz" pos="2112"/>
        <p:guide pos="1584"/>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presProps" Target="presProps.xml"/><Relationship Id="rId27"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9466E96-3FC8-DC4E-83EF-5421AE87F50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5F368E8-C16F-A945-8321-3748C2DE89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121FAB6-0875-D54E-BC58-FF8D9ED4C8BD}" type="datetime1">
              <a:rPr lang="en-US" smtClean="0"/>
              <a:t>6/14/24</a:t>
            </a:fld>
            <a:endParaRPr lang="en-US"/>
          </a:p>
        </p:txBody>
      </p:sp>
      <p:sp>
        <p:nvSpPr>
          <p:cNvPr id="4" name="Footer Placeholder 3">
            <a:extLst>
              <a:ext uri="{FF2B5EF4-FFF2-40B4-BE49-F238E27FC236}">
                <a16:creationId xmlns:a16="http://schemas.microsoft.com/office/drawing/2014/main" id="{AA568E98-6B0D-9D4C-8F9E-76F15C07F8A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5179818-66DF-4D49-B5DB-45775A9967F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BA04E60-7194-5141-AF12-F97751376EC5}" type="slidenum">
              <a:rPr lang="en-US" smtClean="0"/>
              <a:t>‹#›</a:t>
            </a:fld>
            <a:endParaRPr lang="en-US"/>
          </a:p>
        </p:txBody>
      </p:sp>
    </p:spTree>
    <p:extLst>
      <p:ext uri="{BB962C8B-B14F-4D97-AF65-F5344CB8AC3E}">
        <p14:creationId xmlns:p14="http://schemas.microsoft.com/office/powerpoint/2010/main" val="606596415"/>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62729" y="162729"/>
            <a:ext cx="2971800" cy="458788"/>
          </a:xfrm>
          <a:prstGeom prst="rect">
            <a:avLst/>
          </a:prstGeom>
        </p:spPr>
        <p:txBody>
          <a:bodyPr vert="horz" lIns="91440" tIns="45720" rIns="91440" bIns="45720" rtlCol="0"/>
          <a:lstStyle>
            <a:lvl1pPr algn="l">
              <a:defRPr sz="1000">
                <a:latin typeface="Arial" panose="020B0604020202020204" pitchFamily="34" charset="0"/>
                <a:cs typeface="Arial" panose="020B0604020202020204" pitchFamily="34" charset="0"/>
              </a:defRPr>
            </a:lvl1pPr>
          </a:lstStyle>
          <a:p>
            <a:endParaRPr lang="en-US"/>
          </a:p>
        </p:txBody>
      </p:sp>
      <p:sp>
        <p:nvSpPr>
          <p:cNvPr id="3" name="Date Placeholder 2"/>
          <p:cNvSpPr>
            <a:spLocks noGrp="1"/>
          </p:cNvSpPr>
          <p:nvPr>
            <p:ph type="dt" idx="1"/>
          </p:nvPr>
        </p:nvSpPr>
        <p:spPr>
          <a:xfrm>
            <a:off x="3714135" y="162729"/>
            <a:ext cx="2971800" cy="458788"/>
          </a:xfrm>
          <a:prstGeom prst="rect">
            <a:avLst/>
          </a:prstGeom>
        </p:spPr>
        <p:txBody>
          <a:bodyPr vert="horz" lIns="91440" tIns="45720" rIns="91440" bIns="45720" rtlCol="0"/>
          <a:lstStyle>
            <a:lvl1pPr algn="r">
              <a:defRPr sz="1000">
                <a:latin typeface="Arial" panose="020B0604020202020204" pitchFamily="34" charset="0"/>
                <a:cs typeface="Arial" panose="020B0604020202020204" pitchFamily="34" charset="0"/>
              </a:defRPr>
            </a:lvl1pPr>
          </a:lstStyle>
          <a:p>
            <a:fld id="{3F2C04B3-6BEB-5744-BA49-528E9D3C2296}" type="datetime1">
              <a:rPr lang="en-US" smtClean="0"/>
              <a:t>6/14/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70478" y="8537982"/>
            <a:ext cx="2971800" cy="458787"/>
          </a:xfrm>
          <a:prstGeom prst="rect">
            <a:avLst/>
          </a:prstGeom>
        </p:spPr>
        <p:txBody>
          <a:bodyPr vert="horz" lIns="91440" tIns="45720" rIns="91440" bIns="45720" rtlCol="0" anchor="b"/>
          <a:lstStyle>
            <a:lvl1pPr algn="l">
              <a:defRPr sz="800">
                <a:latin typeface="Arial" panose="020B0604020202020204" pitchFamily="34" charset="0"/>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714135" y="8537982"/>
            <a:ext cx="2971800" cy="458787"/>
          </a:xfrm>
          <a:prstGeom prst="rect">
            <a:avLst/>
          </a:prstGeom>
        </p:spPr>
        <p:txBody>
          <a:bodyPr vert="horz" lIns="91440" tIns="45720" rIns="91440" bIns="45720" rtlCol="0" anchor="b"/>
          <a:lstStyle>
            <a:lvl1pPr algn="r">
              <a:defRPr sz="800">
                <a:latin typeface="Arial" panose="020B0604020202020204" pitchFamily="34" charset="0"/>
                <a:cs typeface="Arial" panose="020B0604020202020204" pitchFamily="34" charset="0"/>
              </a:defRPr>
            </a:lvl1pPr>
          </a:lstStyle>
          <a:p>
            <a:fld id="{D9F32827-0F7A-994F-B7BA-06A3D8737755}" type="slidenum">
              <a:rPr lang="en-US" smtClean="0"/>
              <a:pPr/>
              <a:t>‹#›</a:t>
            </a:fld>
            <a:endParaRPr lang="en-US"/>
          </a:p>
        </p:txBody>
      </p:sp>
    </p:spTree>
    <p:extLst>
      <p:ext uri="{BB962C8B-B14F-4D97-AF65-F5344CB8AC3E}">
        <p14:creationId xmlns:p14="http://schemas.microsoft.com/office/powerpoint/2010/main" val="3453458966"/>
      </p:ext>
    </p:extLst>
  </p:cSld>
  <p:clrMap bg1="lt1" tx1="dk1" bg2="lt2" tx2="dk2" accent1="accent1" accent2="accent2" accent3="accent3" accent4="accent4" accent5="accent5" accent6="accent6" hlink="hlink" folHlink="folHlink"/>
  <p:hf/>
  <p:notesStyle>
    <a:lvl1pPr marL="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Welcome everybody</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to</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the Digital.ai Release Integration SDK Workshop.</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Today you will learn how to create and run new tasks for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Digital.ai Release</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using Python 3 and containers.</a:t>
            </a:r>
          </a:p>
          <a:p>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Thank you all for joining.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e're really proud to pre</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s</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en</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you the new way to build the integration tasks in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R</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elease.</a:t>
            </a:r>
          </a:p>
          <a:p>
            <a:endParaRPr lang="en-NL" dirty="0"/>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3F2C04B3-6BEB-5744-BA49-528E9D3C2296}" type="datetime1">
              <a:rPr lang="en-US" smtClean="0"/>
              <a:t>6/14/24</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D9F32827-0F7A-994F-B7BA-06A3D8737755}" type="slidenum">
              <a:rPr lang="en-US" smtClean="0"/>
              <a:pPr/>
              <a:t>1</a:t>
            </a:fld>
            <a:endParaRPr lang="en-US"/>
          </a:p>
        </p:txBody>
      </p:sp>
    </p:spTree>
    <p:extLst>
      <p:ext uri="{BB962C8B-B14F-4D97-AF65-F5344CB8AC3E}">
        <p14:creationId xmlns:p14="http://schemas.microsoft.com/office/powerpoint/2010/main" val="14163492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hat’s the end of the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presentation. Now let's create a plugin</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The workshop is mostly self-guided, so you have to go to this URL. If somebody can post it in the chat</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You can work on it and we'll leave the channel open for questions, either live or on the Teams chat.</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We have a lot of people on the call, and we’re here from Digital.ai to help you if you get stuck.</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If there are a lot of people asking questions and gets a bit crowded, we'll create a breakout room.</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S</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o the point of the workshop is to have an assisted self-guided environment.</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And with that, I invite you all to to get started</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endParaRPr lang="en-US" dirty="0"/>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3F2C04B3-6BEB-5744-BA49-528E9D3C2296}" type="datetime1">
              <a:rPr lang="en-US" smtClean="0"/>
              <a:t>6/14/24</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D9F32827-0F7A-994F-B7BA-06A3D8737755}" type="slidenum">
              <a:rPr lang="en-US" smtClean="0"/>
              <a:pPr/>
              <a:t>10</a:t>
            </a:fld>
            <a:endParaRPr lang="en-US"/>
          </a:p>
        </p:txBody>
      </p:sp>
    </p:spTree>
    <p:extLst>
      <p:ext uri="{BB962C8B-B14F-4D97-AF65-F5344CB8AC3E}">
        <p14:creationId xmlns:p14="http://schemas.microsoft.com/office/powerpoint/2010/main" val="36952367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I'll do a quick introduction of what</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the SDK is all a</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bout and how the architecture hangs together.</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And then it's off to do the workshop,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here you will do the work. This is hands-on workshop. </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he workshop is in three parts. We did a pre-run of the workshop and it turns out that the average time to complete each part is around an hour and a half. So don’t worry if you can’t finish it now, it would be great if you make it into part 2. You can do the remaining exercises offline and we will available for chat to help you later.</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Part One is to get it up and running where you don't need to do any coding, but you get a sample project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ith a development environment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and you're taught how to launch that and run a plugin.</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T</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his is more of a tutorial style</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but you will do some coding at the end.</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Part 2 will be more hands on where you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ill actually design an integration task to AWS.</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In this part there is less guidance and you do need to figure things out yourself to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tackle</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the</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ssignment.</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Part 3, which is optional, shows how you can connect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R</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elease to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Kubernetes for a production setup.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I wouldn't want recommend this if you haven't touched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Kubernetes</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before. But if you have, it's a nice way to show how you can relatively easily install that component that's needed.</a:t>
            </a:r>
          </a:p>
          <a:p>
            <a:endParaRPr lang="en-NL" dirty="0"/>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3F2C04B3-6BEB-5744-BA49-528E9D3C2296}" type="datetime1">
              <a:rPr lang="en-US" smtClean="0"/>
              <a:t>6/14/24</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D9F32827-0F7A-994F-B7BA-06A3D8737755}" type="slidenum">
              <a:rPr lang="en-US" smtClean="0"/>
              <a:pPr/>
              <a:t>2</a:t>
            </a:fld>
            <a:endParaRPr lang="en-US"/>
          </a:p>
        </p:txBody>
      </p:sp>
    </p:spTree>
    <p:extLst>
      <p:ext uri="{BB962C8B-B14F-4D97-AF65-F5344CB8AC3E}">
        <p14:creationId xmlns:p14="http://schemas.microsoft.com/office/powerpoint/2010/main" val="3132904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OK, now why did we build a new SDK?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ell,</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if you have buil</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 plugin before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in R</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elease, you've probably run into some limitations.</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F</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or one, we're using an outdated version of Python, Python 2</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7</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on the Java Virtual Machine</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nd unfortunately we're kind of stuck there</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e don’t have</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support for other languages</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W</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e have lots of requests with. Hey, can't you do Pearl or go or whatever, it's only Python.</a:t>
            </a:r>
          </a:p>
          <a:p>
            <a:endParaRPr lang="en-US"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It also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difficult to add third party libraries.</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Which is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s</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h</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ame because you use the integration plugins to integrate with some external system. So you need those libraries.  </a:t>
            </a:r>
          </a:p>
          <a:p>
            <a:endParaRPr lang="en-US"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e also lack a clear process around unit testing and CI/CD.</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And finally, installing plugins is quite cumbersome.</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endParaRPr lang="en-NL" dirty="0"/>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3F2C04B3-6BEB-5744-BA49-528E9D3C2296}" type="datetime1">
              <a:rPr lang="en-US" smtClean="0"/>
              <a:t>6/14/24</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D9F32827-0F7A-994F-B7BA-06A3D8737755}" type="slidenum">
              <a:rPr lang="en-US" smtClean="0"/>
              <a:pPr/>
              <a:t>3</a:t>
            </a:fld>
            <a:endParaRPr lang="en-US"/>
          </a:p>
        </p:txBody>
      </p:sp>
    </p:spTree>
    <p:extLst>
      <p:ext uri="{BB962C8B-B14F-4D97-AF65-F5344CB8AC3E}">
        <p14:creationId xmlns:p14="http://schemas.microsoft.com/office/powerpoint/2010/main" val="32304506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So we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ompletely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rethought the way to build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nd run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plugins and we came up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ith executing</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asks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as Docker containers.</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And that's what we've been doing for the last year</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p>
          <a:p>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he integration task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an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now run outside of the JVM process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of Release. W</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e have process isolation. We have network isolation, and it's also more scalable.</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It also means that we're not bound to the old Python 2.7 that's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integrated</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in</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o</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the JVM, but we can use any language or framework.</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ith the 23.1 release</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hat came out this week,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we provide an SDK for Python 3</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software development kit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hat</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gives you, the developer the tools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you need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to write your plugins, and that's what we</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will be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doing today.</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So it's not only the technical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plumbing</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it's also the tools to make that a good experience.</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And finally, one of the main requirements was that it would work like any other task in release. So if you look at it from the UI or modeling templates perspective, there's no difference between</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old</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tasks and new tasks</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T</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he container tasks behave the same and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you can mix and match traditional tasks and container tasks</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he feature is still in Tech Preview.</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hy is that?</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F</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irst of all,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e want to be able to incorporate your feedback.</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And secondly, there are some things that we still want to solve.</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O</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ne thing I mentioned is that installation is cumbersome</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you need to restart the server. We will tackle that one for the next release in October, then you will be able to install plugins without restarts! </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nother thing is that from UI perspective we didn’t change a lot and we want to give more insight of what is running where since the tasks run outside of Release now.</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en-NL" dirty="0"/>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3F2C04B3-6BEB-5744-BA49-528E9D3C2296}" type="datetime1">
              <a:rPr lang="en-US" smtClean="0"/>
              <a:t>6/14/24</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D9F32827-0F7A-994F-B7BA-06A3D8737755}" type="slidenum">
              <a:rPr lang="en-US" smtClean="0"/>
              <a:pPr/>
              <a:t>4</a:t>
            </a:fld>
            <a:endParaRPr lang="en-US"/>
          </a:p>
        </p:txBody>
      </p:sp>
    </p:spTree>
    <p:extLst>
      <p:ext uri="{BB962C8B-B14F-4D97-AF65-F5344CB8AC3E}">
        <p14:creationId xmlns:p14="http://schemas.microsoft.com/office/powerpoint/2010/main" val="33419586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I'll talk a little bit about the architecture.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This is the traditional architecture from previous versions</a:t>
            </a:r>
          </a:p>
          <a:p>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We have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D</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igital</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i R</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elease running as a Java process in the JVM.</a:t>
            </a:r>
          </a:p>
          <a:p>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ny integration task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or</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plugin that you develop will run as a process in that Java process. So it's all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in the same box</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That means that there are some limitations like the task need to be written in some way that the JVM understands.</a:t>
            </a:r>
          </a:p>
          <a:p>
            <a:endParaRPr lang="en-NL" dirty="0"/>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3F2C04B3-6BEB-5744-BA49-528E9D3C2296}" type="datetime1">
              <a:rPr lang="en-US" smtClean="0"/>
              <a:t>6/14/24</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D9F32827-0F7A-994F-B7BA-06A3D8737755}" type="slidenum">
              <a:rPr lang="en-US" smtClean="0"/>
              <a:pPr/>
              <a:t>5</a:t>
            </a:fld>
            <a:endParaRPr lang="en-US"/>
          </a:p>
        </p:txBody>
      </p:sp>
    </p:spTree>
    <p:extLst>
      <p:ext uri="{BB962C8B-B14F-4D97-AF65-F5344CB8AC3E}">
        <p14:creationId xmlns:p14="http://schemas.microsoft.com/office/powerpoint/2010/main" val="35690199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hat we did now with the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ontainer-based</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tasks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i</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s that your task will execute as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Docker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containers. </a:t>
            </a:r>
          </a:p>
          <a:p>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here are two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ways to execute this</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en-US"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he first one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i</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s the Development Environment that you will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be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using in the workshop.</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Y</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ou have a Docker environment and within Docker you have the main release process running and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ny task that you build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ith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the SDK</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i</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s run as a separate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p</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rocess in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he same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Docker</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The Docker setup is for development only. It's a bit limited and not</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q</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uite secure enough to run in production. </a:t>
            </a:r>
          </a:p>
          <a:p>
            <a:endParaRPr lang="en-NL" dirty="0"/>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3F2C04B3-6BEB-5744-BA49-528E9D3C2296}" type="datetime1">
              <a:rPr lang="en-US" smtClean="0"/>
              <a:t>6/14/24</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D9F32827-0F7A-994F-B7BA-06A3D8737755}" type="slidenum">
              <a:rPr lang="en-US" smtClean="0"/>
              <a:pPr/>
              <a:t>6</a:t>
            </a:fld>
            <a:endParaRPr lang="en-US"/>
          </a:p>
        </p:txBody>
      </p:sp>
    </p:spTree>
    <p:extLst>
      <p:ext uri="{BB962C8B-B14F-4D97-AF65-F5344CB8AC3E}">
        <p14:creationId xmlns:p14="http://schemas.microsoft.com/office/powerpoint/2010/main" val="36279908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So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in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production, we'll have a Kubernetes</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s</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et up.</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he D</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igital</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i R</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elease process</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is</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in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JVM that can run either inside or outside of Kubernetes.</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And it communicates with the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Kubernetes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cluster through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component called </a:t>
            </a:r>
            <a:r>
              <a:rPr lang="en-NL" sz="1800" kern="100">
                <a:effectLst/>
                <a:latin typeface="Calibri" panose="020F0502020204030204" pitchFamily="34" charset="0"/>
                <a:ea typeface="Times New Roman" panose="02020603050405020304" pitchFamily="18" charset="0"/>
                <a:cs typeface="Times New Roman" panose="02020603050405020304" pitchFamily="18" charset="0"/>
              </a:rPr>
              <a:t>the </a:t>
            </a:r>
            <a:r>
              <a:rPr lang="en-US" sz="1800" dirty="0">
                <a:latin typeface="Lato" panose="020F0502020204030203" pitchFamily="34" charset="77"/>
              </a:rPr>
              <a:t>Release</a:t>
            </a:r>
            <a:r>
              <a:rPr lang="en-NL" sz="1800">
                <a:latin typeface="Lato" panose="020F0502020204030203" pitchFamily="34" charset="77"/>
              </a:rPr>
              <a:t> </a:t>
            </a:r>
            <a:r>
              <a:rPr lang="en-US" sz="1800" dirty="0">
                <a:latin typeface="Lato" panose="020F0502020204030203" pitchFamily="34" charset="77"/>
              </a:rPr>
              <a:t>r</a:t>
            </a:r>
            <a:r>
              <a:rPr lang="en-NL" sz="1800">
                <a:latin typeface="Lato" panose="020F0502020204030203" pitchFamily="34" charset="77"/>
              </a:rPr>
              <a:t>unner</a:t>
            </a:r>
            <a:r>
              <a:rPr lang="en-NL" sz="1800" kern="100">
                <a:effectLst/>
                <a:latin typeface="Calibri" panose="020F0502020204030204" pitchFamily="34" charset="0"/>
                <a:ea typeface="Times New Roman" panose="02020603050405020304" pitchFamily="18" charset="0"/>
                <a:cs typeface="Times New Roman" panose="02020603050405020304" pitchFamily="18" charset="0"/>
              </a:rPr>
              <a:t>.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This is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n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agent that provides the communication between the main release process and the container. Tasks will execute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s</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Kubernetes pods.</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NL" sz="1800" kern="100">
                <a:effectLst/>
                <a:latin typeface="Calibri" panose="020F0502020204030204" pitchFamily="34" charset="0"/>
                <a:ea typeface="Times New Roman" panose="02020603050405020304" pitchFamily="18" charset="0"/>
                <a:cs typeface="Times New Roman" panose="02020603050405020304" pitchFamily="18" charset="0"/>
              </a:rPr>
              <a:t>The </a:t>
            </a:r>
            <a:r>
              <a:rPr lang="en-US" sz="1800" dirty="0">
                <a:latin typeface="Lato" panose="020F0502020204030203" pitchFamily="34" charset="77"/>
              </a:rPr>
              <a:t>Release</a:t>
            </a:r>
            <a:r>
              <a:rPr lang="en-NL" sz="1800">
                <a:latin typeface="Lato" panose="020F0502020204030203" pitchFamily="34" charset="77"/>
              </a:rPr>
              <a:t> </a:t>
            </a:r>
            <a:r>
              <a:rPr lang="en-US" sz="1800" dirty="0">
                <a:latin typeface="Lato" panose="020F0502020204030203" pitchFamily="34" charset="77"/>
              </a:rPr>
              <a:t>r</a:t>
            </a:r>
            <a:r>
              <a:rPr lang="en-NL" sz="1800">
                <a:latin typeface="Lato" panose="020F0502020204030203" pitchFamily="34" charset="77"/>
              </a:rPr>
              <a:t>unner</a:t>
            </a:r>
            <a:r>
              <a:rPr lang="en-US" sz="1800" dirty="0">
                <a:latin typeface="Lato" panose="020F0502020204030203" pitchFamily="34" charset="77"/>
              </a:rPr>
              <a:t> </a:t>
            </a:r>
            <a:r>
              <a:rPr lang="en-NL" sz="1800" kern="100">
                <a:effectLst/>
                <a:latin typeface="Calibri" panose="020F0502020204030204" pitchFamily="34" charset="0"/>
                <a:ea typeface="Times New Roman" panose="02020603050405020304" pitchFamily="18" charset="0"/>
                <a:cs typeface="Times New Roman" panose="02020603050405020304" pitchFamily="18" charset="0"/>
              </a:rPr>
              <a:t>is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the coordinator for that.</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One thing that you'll note here is that </a:t>
            </a:r>
            <a:r>
              <a:rPr lang="en-NL" sz="1800" kern="100">
                <a:effectLst/>
                <a:latin typeface="Calibri" panose="020F0502020204030204" pitchFamily="34" charset="0"/>
                <a:ea typeface="Times New Roman" panose="02020603050405020304" pitchFamily="18" charset="0"/>
                <a:cs typeface="Times New Roman" panose="02020603050405020304" pitchFamily="18" charset="0"/>
              </a:rPr>
              <a:t>the runner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has a single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rrow</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pointing to Release, meaning that the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R</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elease server itself doesn't know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h</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ow to reach into Kubernetes so the communication is from Kubernetes into into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R</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elease</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T</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his was done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ith the idea that the Kubernetes cluster can run</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o</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n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different network</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p>
          <a:p>
            <a:endParaRPr lang="en-US"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here can be multiple </a:t>
            </a:r>
            <a:r>
              <a:rPr lang="en-US" sz="1800" dirty="0">
                <a:latin typeface="Lato" panose="020F0502020204030203" pitchFamily="34" charset="77"/>
              </a:rPr>
              <a:t>r</a:t>
            </a:r>
            <a:r>
              <a:rPr lang="en-NL" sz="1800">
                <a:latin typeface="Lato" panose="020F0502020204030203" pitchFamily="34" charset="77"/>
              </a:rPr>
              <a:t>unner</a:t>
            </a:r>
            <a:r>
              <a:rPr lang="en-US" sz="1800" dirty="0">
                <a:latin typeface="Lato" panose="020F0502020204030203" pitchFamily="34" charset="77"/>
              </a:rPr>
              <a:t>s</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They do not need to be in the same Kubernetes cluster or network.</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en-NL" dirty="0"/>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3F2C04B3-6BEB-5744-BA49-528E9D3C2296}" type="datetime1">
              <a:rPr lang="en-US" smtClean="0"/>
              <a:t>6/14/24</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D9F32827-0F7A-994F-B7BA-06A3D8737755}" type="slidenum">
              <a:rPr lang="en-US" smtClean="0"/>
              <a:pPr/>
              <a:t>7</a:t>
            </a:fld>
            <a:endParaRPr lang="en-US"/>
          </a:p>
        </p:txBody>
      </p:sp>
    </p:spTree>
    <p:extLst>
      <p:ext uri="{BB962C8B-B14F-4D97-AF65-F5344CB8AC3E}">
        <p14:creationId xmlns:p14="http://schemas.microsoft.com/office/powerpoint/2010/main" val="7542064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You will be running the workshop on your own laptop.</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You would need some programming experience. The workshop is in Python 3, but the coding is not that complicated</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For the first</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art you don't need to do a lot in Python.</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Op</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erating system Windows, Linux, Mac OS. We had some trouble with M1M2 Max. They need to be in the latest version.</a:t>
            </a:r>
          </a:p>
          <a:p>
            <a:endParaRPr lang="en-NL" dirty="0"/>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3F2C04B3-6BEB-5744-BA49-528E9D3C2296}" type="datetime1">
              <a:rPr lang="en-US" smtClean="0"/>
              <a:t>6/14/24</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D9F32827-0F7A-994F-B7BA-06A3D8737755}" type="slidenum">
              <a:rPr lang="en-US" smtClean="0"/>
              <a:pPr/>
              <a:t>8</a:t>
            </a:fld>
            <a:endParaRPr lang="en-US"/>
          </a:p>
        </p:txBody>
      </p:sp>
    </p:spTree>
    <p:extLst>
      <p:ext uri="{BB962C8B-B14F-4D97-AF65-F5344CB8AC3E}">
        <p14:creationId xmlns:p14="http://schemas.microsoft.com/office/powerpoint/2010/main" val="17274116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Final slide, what I like a lot about the SDK. </a:t>
            </a:r>
          </a:p>
          <a:p>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What is it about? </a:t>
            </a:r>
          </a:p>
          <a:p>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The idea is that you have to write minimal code to write a plugin and the SDK provides you all the tools and infrastructure to make that happen.</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What I'm showing you here  is not a task itself. The actual implementation is somewhere else. </a:t>
            </a:r>
          </a:p>
          <a:p>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This is a unit test.</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I w</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anted to highlight this because this is in the end how you will test your task and it's really</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that simple, and that's what I love about it. </a:t>
            </a:r>
          </a:p>
          <a:p>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In this case, you create</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 Jenkins task, give it input properties</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like you would do in the UI. You run the task and then you check the output. </a:t>
            </a:r>
          </a:p>
          <a:p>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That's all there is to it. </a:t>
            </a:r>
          </a:p>
          <a:p>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That's all there </a:t>
            </a:r>
            <a:r>
              <a:rPr lang="en-NL" sz="1800" i="1" kern="100" dirty="0">
                <a:effectLst/>
                <a:latin typeface="Calibri" panose="020F0502020204030204" pitchFamily="34" charset="0"/>
                <a:ea typeface="Times New Roman" panose="02020603050405020304" pitchFamily="18" charset="0"/>
                <a:cs typeface="Times New Roman" panose="02020603050405020304" pitchFamily="18" charset="0"/>
              </a:rPr>
              <a:t>should</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be to it. There is not a lot of boilerplating</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Now you can run it as a unit test and sometimes it finishes so fast the console says it was completed in 0.000 seconds.</a:t>
            </a:r>
            <a:endParaRPr lang="en-NL"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So this is the goal of the SDK.</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To move all the complicated stuff out of the way so you can focus on on what's really important</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NL" sz="1800" kern="100" dirty="0">
                <a:effectLst/>
                <a:latin typeface="Calibri" panose="020F0502020204030204" pitchFamily="34" charset="0"/>
                <a:ea typeface="Times New Roman" panose="02020603050405020304" pitchFamily="18" charset="0"/>
                <a:cs typeface="Times New Roman" panose="02020603050405020304" pitchFamily="18" charset="0"/>
              </a:rPr>
              <a:t>the business logic of your task.</a:t>
            </a:r>
          </a:p>
          <a:p>
            <a:endParaRPr lang="en-NL" dirty="0"/>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3F2C04B3-6BEB-5744-BA49-528E9D3C2296}" type="datetime1">
              <a:rPr lang="en-US" smtClean="0"/>
              <a:t>6/14/24</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D9F32827-0F7A-994F-B7BA-06A3D8737755}" type="slidenum">
              <a:rPr lang="en-US" smtClean="0"/>
              <a:pPr/>
              <a:t>9</a:t>
            </a:fld>
            <a:endParaRPr lang="en-US"/>
          </a:p>
        </p:txBody>
      </p:sp>
    </p:spTree>
    <p:extLst>
      <p:ext uri="{BB962C8B-B14F-4D97-AF65-F5344CB8AC3E}">
        <p14:creationId xmlns:p14="http://schemas.microsoft.com/office/powerpoint/2010/main" val="22088779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tif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Presentation Title">
    <p:bg>
      <p:bgPr>
        <a:solidFill>
          <a:schemeClr val="bg1"/>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1B71F199-C866-7840-8180-C5B8F447F8E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TextBox 11">
            <a:extLst>
              <a:ext uri="{FF2B5EF4-FFF2-40B4-BE49-F238E27FC236}">
                <a16:creationId xmlns:a16="http://schemas.microsoft.com/office/drawing/2014/main" id="{4515F402-65B0-1F4C-84D7-296D77410623}"/>
              </a:ext>
            </a:extLst>
          </p:cNvPr>
          <p:cNvSpPr txBox="1">
            <a:spLocks noChangeArrowheads="1"/>
          </p:cNvSpPr>
          <p:nvPr userDrawn="1"/>
        </p:nvSpPr>
        <p:spPr bwMode="auto">
          <a:xfrm>
            <a:off x="11231693" y="6584250"/>
            <a:ext cx="84189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r>
              <a:rPr lang="en-US" altLang="en-US" sz="700">
                <a:solidFill>
                  <a:schemeClr val="tx2"/>
                </a:solidFill>
                <a:latin typeface="Arial" panose="020B0604020202020204" pitchFamily="34" charset="0"/>
                <a:ea typeface="Segoe UI Historic" panose="020B0502040204020203" pitchFamily="34" charset="0"/>
                <a:cs typeface="Arial" panose="020B0604020202020204" pitchFamily="34" charset="0"/>
              </a:rPr>
              <a:t>© Digital.ai.2022</a:t>
            </a:r>
          </a:p>
        </p:txBody>
      </p:sp>
      <p:pic>
        <p:nvPicPr>
          <p:cNvPr id="9" name="Picture 8">
            <a:extLst>
              <a:ext uri="{FF2B5EF4-FFF2-40B4-BE49-F238E27FC236}">
                <a16:creationId xmlns:a16="http://schemas.microsoft.com/office/drawing/2014/main" id="{3838A4D7-56AD-DA42-AB46-866713C013A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05129" y="1714217"/>
            <a:ext cx="4628677" cy="1479917"/>
          </a:xfrm>
          <a:prstGeom prst="rect">
            <a:avLst/>
          </a:prstGeom>
        </p:spPr>
      </p:pic>
      <p:sp>
        <p:nvSpPr>
          <p:cNvPr id="5" name="Text Placeholder 4">
            <a:extLst>
              <a:ext uri="{FF2B5EF4-FFF2-40B4-BE49-F238E27FC236}">
                <a16:creationId xmlns:a16="http://schemas.microsoft.com/office/drawing/2014/main" id="{AEA895D9-90CA-3F44-B7E2-0EBFCFD5887C}"/>
              </a:ext>
            </a:extLst>
          </p:cNvPr>
          <p:cNvSpPr>
            <a:spLocks noGrp="1"/>
          </p:cNvSpPr>
          <p:nvPr>
            <p:ph type="body" sz="quarter" idx="10" hasCustomPrompt="1"/>
          </p:nvPr>
        </p:nvSpPr>
        <p:spPr>
          <a:xfrm>
            <a:off x="934153" y="5304600"/>
            <a:ext cx="3231447" cy="294859"/>
          </a:xfrm>
        </p:spPr>
        <p:txBody>
          <a:bodyPr/>
          <a:lstStyle>
            <a:lvl1pPr marL="0" indent="0">
              <a:buNone/>
              <a:defRPr sz="1200" b="1" cap="all" baseline="0">
                <a:solidFill>
                  <a:srgbClr val="7F7F7F"/>
                </a:solidFill>
              </a:defRPr>
            </a:lvl1pPr>
            <a:lvl2pPr marL="346075" indent="0">
              <a:buNone/>
              <a:defRPr b="1">
                <a:solidFill>
                  <a:srgbClr val="7F7F7F"/>
                </a:solidFill>
              </a:defRPr>
            </a:lvl2pPr>
            <a:lvl3pPr marL="628650" indent="0">
              <a:buNone/>
              <a:defRPr b="1">
                <a:solidFill>
                  <a:srgbClr val="7F7F7F"/>
                </a:solidFill>
              </a:defRPr>
            </a:lvl3pPr>
            <a:lvl4pPr marL="857250" indent="0">
              <a:buNone/>
              <a:defRPr b="1">
                <a:solidFill>
                  <a:srgbClr val="7F7F7F"/>
                </a:solidFill>
              </a:defRPr>
            </a:lvl4pPr>
            <a:lvl5pPr marL="1150938" indent="0">
              <a:buNone/>
              <a:defRPr b="1">
                <a:solidFill>
                  <a:srgbClr val="7F7F7F"/>
                </a:solidFill>
              </a:defRPr>
            </a:lvl5pPr>
          </a:lstStyle>
          <a:p>
            <a:pPr lvl="0"/>
            <a:r>
              <a:rPr lang="en-US"/>
              <a:t>CLICK TO EDIT MASTER TEXT STYLES</a:t>
            </a:r>
          </a:p>
        </p:txBody>
      </p:sp>
      <p:sp>
        <p:nvSpPr>
          <p:cNvPr id="15" name="Title 14">
            <a:extLst>
              <a:ext uri="{FF2B5EF4-FFF2-40B4-BE49-F238E27FC236}">
                <a16:creationId xmlns:a16="http://schemas.microsoft.com/office/drawing/2014/main" id="{E2562DB3-52CC-1D49-8206-9CFAA46EE2E2}"/>
              </a:ext>
            </a:extLst>
          </p:cNvPr>
          <p:cNvSpPr>
            <a:spLocks noGrp="1"/>
          </p:cNvSpPr>
          <p:nvPr>
            <p:ph type="title"/>
          </p:nvPr>
        </p:nvSpPr>
        <p:spPr>
          <a:xfrm>
            <a:off x="934154" y="3207268"/>
            <a:ext cx="9773604" cy="951910"/>
          </a:xfrm>
        </p:spPr>
        <p:txBody>
          <a:bodyPr anchor="t" anchorCtr="0"/>
          <a:lstStyle>
            <a:lvl1pPr>
              <a:defRPr sz="4000"/>
            </a:lvl1pPr>
          </a:lstStyle>
          <a:p>
            <a:r>
              <a:rPr lang="en-US"/>
              <a:t>Click to edit Master title style</a:t>
            </a:r>
          </a:p>
        </p:txBody>
      </p:sp>
    </p:spTree>
    <p:extLst>
      <p:ext uri="{BB962C8B-B14F-4D97-AF65-F5344CB8AC3E}">
        <p14:creationId xmlns:p14="http://schemas.microsoft.com/office/powerpoint/2010/main" val="3432055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lide - Header + Subhead #2">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F52DBD38-538A-7E4C-BE01-88A7D58326FB}"/>
              </a:ext>
            </a:extLst>
          </p:cNvPr>
          <p:cNvSpPr>
            <a:spLocks noGrp="1"/>
          </p:cNvSpPr>
          <p:nvPr>
            <p:ph type="body" sz="quarter" idx="11"/>
          </p:nvPr>
        </p:nvSpPr>
        <p:spPr>
          <a:xfrm>
            <a:off x="421531" y="1269627"/>
            <a:ext cx="11324083" cy="400050"/>
          </a:xfrm>
          <a:prstGeom prst="rect">
            <a:avLst/>
          </a:prstGeom>
        </p:spPr>
        <p:txBody>
          <a:bodyPr/>
          <a:lstStyle>
            <a:lvl1pPr marL="0" indent="0">
              <a:buNone/>
              <a:defRPr sz="2000" b="1">
                <a:solidFill>
                  <a:srgbClr val="649A3D"/>
                </a:solidFill>
                <a:latin typeface="Arial" panose="020B0604020202020204" pitchFamily="34" charset="0"/>
                <a:ea typeface="Segoe UI Historic" panose="020B0502040204020203" pitchFamily="34" charset="0"/>
                <a:cs typeface="Arial" panose="020B0604020202020204" pitchFamily="34" charset="0"/>
              </a:defRPr>
            </a:lvl1pPr>
            <a:lvl2pPr marL="457200" indent="0">
              <a:buNone/>
              <a:defRPr sz="2800">
                <a:latin typeface="Segoe UI Historic" panose="020B0502040204020203" pitchFamily="34" charset="0"/>
                <a:ea typeface="Segoe UI Historic" panose="020B0502040204020203" pitchFamily="34" charset="0"/>
                <a:cs typeface="Segoe UI Historic" panose="020B0502040204020203" pitchFamily="34" charset="0"/>
              </a:defRPr>
            </a:lvl2pPr>
            <a:lvl3pPr marL="914400" indent="0">
              <a:buNone/>
              <a:defRPr sz="2400">
                <a:latin typeface="Segoe UI Historic" panose="020B0502040204020203" pitchFamily="34" charset="0"/>
                <a:ea typeface="Segoe UI Historic" panose="020B0502040204020203" pitchFamily="34" charset="0"/>
                <a:cs typeface="Segoe UI Historic" panose="020B0502040204020203" pitchFamily="34" charset="0"/>
              </a:defRPr>
            </a:lvl3pPr>
            <a:lvl4pPr marL="1371600" indent="0">
              <a:buNone/>
              <a:defRPr sz="2000">
                <a:latin typeface="Segoe UI Historic" panose="020B0502040204020203" pitchFamily="34" charset="0"/>
                <a:ea typeface="Segoe UI Historic" panose="020B0502040204020203" pitchFamily="34" charset="0"/>
                <a:cs typeface="Segoe UI Historic" panose="020B0502040204020203" pitchFamily="34" charset="0"/>
              </a:defRPr>
            </a:lvl4pPr>
            <a:lvl5pPr marL="1828800" indent="0">
              <a:buNone/>
              <a:defRPr sz="2000">
                <a:latin typeface="Segoe UI Historic" panose="020B0502040204020203" pitchFamily="34" charset="0"/>
                <a:ea typeface="Segoe UI Historic" panose="020B0502040204020203" pitchFamily="34" charset="0"/>
                <a:cs typeface="Segoe UI Historic" panose="020B0502040204020203" pitchFamily="34" charset="0"/>
              </a:defRPr>
            </a:lvl5pPr>
          </a:lstStyle>
          <a:p>
            <a:pPr lvl="0"/>
            <a:r>
              <a:rPr lang="en-US"/>
              <a:t>Click to edit Master text styles</a:t>
            </a:r>
          </a:p>
        </p:txBody>
      </p:sp>
      <p:sp>
        <p:nvSpPr>
          <p:cNvPr id="6" name="Footer Placeholder 5">
            <a:extLst>
              <a:ext uri="{FF2B5EF4-FFF2-40B4-BE49-F238E27FC236}">
                <a16:creationId xmlns:a16="http://schemas.microsoft.com/office/drawing/2014/main" id="{12AA9203-8B1A-7B4F-9B58-474CE26F7385}"/>
              </a:ext>
            </a:extLst>
          </p:cNvPr>
          <p:cNvSpPr>
            <a:spLocks noGrp="1"/>
          </p:cNvSpPr>
          <p:nvPr>
            <p:ph type="ftr" sz="quarter" idx="12"/>
          </p:nvPr>
        </p:nvSpPr>
        <p:spPr/>
        <p:txBody>
          <a:bodyPr/>
          <a:lstStyle/>
          <a:p>
            <a:endParaRPr lang="en-US"/>
          </a:p>
        </p:txBody>
      </p:sp>
      <p:sp>
        <p:nvSpPr>
          <p:cNvPr id="21" name="Title 20">
            <a:extLst>
              <a:ext uri="{FF2B5EF4-FFF2-40B4-BE49-F238E27FC236}">
                <a16:creationId xmlns:a16="http://schemas.microsoft.com/office/drawing/2014/main" id="{3B3C6163-9A98-6B41-B176-5647E0464D6E}"/>
              </a:ext>
            </a:extLst>
          </p:cNvPr>
          <p:cNvSpPr>
            <a:spLocks noGrp="1"/>
          </p:cNvSpPr>
          <p:nvPr>
            <p:ph type="title"/>
          </p:nvPr>
        </p:nvSpPr>
        <p:spPr>
          <a:xfrm>
            <a:off x="421532" y="295156"/>
            <a:ext cx="11324083" cy="897038"/>
          </a:xfrm>
        </p:spPr>
        <p:txBody>
          <a:bodyPr/>
          <a:lstStyle/>
          <a:p>
            <a:r>
              <a:rPr lang="en-US"/>
              <a:t>Click to edit Master title style</a:t>
            </a:r>
          </a:p>
        </p:txBody>
      </p:sp>
      <p:cxnSp>
        <p:nvCxnSpPr>
          <p:cNvPr id="8" name="Straight Connector 7">
            <a:extLst>
              <a:ext uri="{FF2B5EF4-FFF2-40B4-BE49-F238E27FC236}">
                <a16:creationId xmlns:a16="http://schemas.microsoft.com/office/drawing/2014/main" id="{8A511F60-4B48-914C-A044-0FD31C37D145}"/>
              </a:ext>
            </a:extLst>
          </p:cNvPr>
          <p:cNvCxnSpPr>
            <a:cxnSpLocks/>
          </p:cNvCxnSpPr>
          <p:nvPr userDrawn="1"/>
        </p:nvCxnSpPr>
        <p:spPr>
          <a:xfrm>
            <a:off x="0" y="17697"/>
            <a:ext cx="12192000" cy="0"/>
          </a:xfrm>
          <a:prstGeom prst="line">
            <a:avLst/>
          </a:prstGeom>
          <a:ln w="50800" cap="flat" cmpd="sng">
            <a:solidFill>
              <a:srgbClr val="649A3D"/>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6587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lide - Header Only #2">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D1FC9361-6746-004A-992B-F8B3928BE1B2}"/>
              </a:ext>
            </a:extLst>
          </p:cNvPr>
          <p:cNvSpPr>
            <a:spLocks noGrp="1"/>
          </p:cNvSpPr>
          <p:nvPr>
            <p:ph type="ftr" sz="quarter" idx="10"/>
          </p:nvPr>
        </p:nvSpPr>
        <p:spPr/>
        <p:txBody>
          <a:bodyPr/>
          <a:lstStyle/>
          <a:p>
            <a:endParaRPr lang="en-US"/>
          </a:p>
        </p:txBody>
      </p:sp>
      <p:sp>
        <p:nvSpPr>
          <p:cNvPr id="9" name="Title 8">
            <a:extLst>
              <a:ext uri="{FF2B5EF4-FFF2-40B4-BE49-F238E27FC236}">
                <a16:creationId xmlns:a16="http://schemas.microsoft.com/office/drawing/2014/main" id="{B755F45F-5592-B84B-806D-857CFD3FBE49}"/>
              </a:ext>
            </a:extLst>
          </p:cNvPr>
          <p:cNvSpPr>
            <a:spLocks noGrp="1"/>
          </p:cNvSpPr>
          <p:nvPr>
            <p:ph type="title"/>
          </p:nvPr>
        </p:nvSpPr>
        <p:spPr/>
        <p:txBody>
          <a:bodyPr/>
          <a:lstStyle/>
          <a:p>
            <a:r>
              <a:rPr lang="en-US"/>
              <a:t>Click to edit Master title style</a:t>
            </a:r>
          </a:p>
        </p:txBody>
      </p:sp>
      <p:cxnSp>
        <p:nvCxnSpPr>
          <p:cNvPr id="14" name="Straight Connector 13">
            <a:extLst>
              <a:ext uri="{FF2B5EF4-FFF2-40B4-BE49-F238E27FC236}">
                <a16:creationId xmlns:a16="http://schemas.microsoft.com/office/drawing/2014/main" id="{74D5B93D-E57F-0449-A577-8126C0FBAD30}"/>
              </a:ext>
            </a:extLst>
          </p:cNvPr>
          <p:cNvCxnSpPr>
            <a:cxnSpLocks/>
          </p:cNvCxnSpPr>
          <p:nvPr userDrawn="1"/>
        </p:nvCxnSpPr>
        <p:spPr>
          <a:xfrm>
            <a:off x="0" y="17697"/>
            <a:ext cx="12192000" cy="0"/>
          </a:xfrm>
          <a:prstGeom prst="line">
            <a:avLst/>
          </a:prstGeom>
          <a:ln w="50800" cap="flat" cmpd="sng">
            <a:solidFill>
              <a:srgbClr val="649A3D"/>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3835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lide - 2Col + Subhead #2">
    <p:spTree>
      <p:nvGrpSpPr>
        <p:cNvPr id="1" name=""/>
        <p:cNvGrpSpPr/>
        <p:nvPr/>
      </p:nvGrpSpPr>
      <p:grpSpPr>
        <a:xfrm>
          <a:off x="0" y="0"/>
          <a:ext cx="0" cy="0"/>
          <a:chOff x="0" y="0"/>
          <a:chExt cx="0" cy="0"/>
        </a:xfrm>
      </p:grpSpPr>
      <p:sp>
        <p:nvSpPr>
          <p:cNvPr id="6" name="TextBox 11">
            <a:extLst>
              <a:ext uri="{FF2B5EF4-FFF2-40B4-BE49-F238E27FC236}">
                <a16:creationId xmlns:a16="http://schemas.microsoft.com/office/drawing/2014/main" id="{5EB70C11-09D5-394B-A9F6-AD4E69622F74}"/>
              </a:ext>
            </a:extLst>
          </p:cNvPr>
          <p:cNvSpPr txBox="1">
            <a:spLocks noChangeArrowheads="1"/>
          </p:cNvSpPr>
          <p:nvPr/>
        </p:nvSpPr>
        <p:spPr bwMode="auto">
          <a:xfrm>
            <a:off x="11463655" y="7376160"/>
            <a:ext cx="87947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800">
                <a:solidFill>
                  <a:srgbClr val="7F7F7F"/>
                </a:solidFill>
                <a:latin typeface="Calibri Light" panose="020F0302020204030204" pitchFamily="34" charset="0"/>
              </a:rPr>
              <a:t>© Digital.ai.2020</a:t>
            </a:r>
          </a:p>
        </p:txBody>
      </p:sp>
      <p:sp>
        <p:nvSpPr>
          <p:cNvPr id="8" name="Footer Placeholder 7">
            <a:extLst>
              <a:ext uri="{FF2B5EF4-FFF2-40B4-BE49-F238E27FC236}">
                <a16:creationId xmlns:a16="http://schemas.microsoft.com/office/drawing/2014/main" id="{3D6085BE-F243-0843-8569-B017D772803E}"/>
              </a:ext>
            </a:extLst>
          </p:cNvPr>
          <p:cNvSpPr>
            <a:spLocks noGrp="1"/>
          </p:cNvSpPr>
          <p:nvPr>
            <p:ph type="ftr" sz="quarter" idx="12"/>
          </p:nvPr>
        </p:nvSpPr>
        <p:spPr/>
        <p:txBody>
          <a:bodyPr/>
          <a:lstStyle/>
          <a:p>
            <a:endParaRPr lang="en-US"/>
          </a:p>
        </p:txBody>
      </p:sp>
      <p:sp>
        <p:nvSpPr>
          <p:cNvPr id="2" name="Title 1">
            <a:extLst>
              <a:ext uri="{FF2B5EF4-FFF2-40B4-BE49-F238E27FC236}">
                <a16:creationId xmlns:a16="http://schemas.microsoft.com/office/drawing/2014/main" id="{52C9CEE9-DEAE-7848-8AC3-16CC4223BFE9}"/>
              </a:ext>
            </a:extLst>
          </p:cNvPr>
          <p:cNvSpPr>
            <a:spLocks noGrp="1"/>
          </p:cNvSpPr>
          <p:nvPr>
            <p:ph type="title"/>
          </p:nvPr>
        </p:nvSpPr>
        <p:spPr/>
        <p:txBody>
          <a:bodyPr/>
          <a:lstStyle/>
          <a:p>
            <a:r>
              <a:rPr lang="en-US"/>
              <a:t>Click to edit Master title style</a:t>
            </a:r>
          </a:p>
        </p:txBody>
      </p:sp>
      <p:sp>
        <p:nvSpPr>
          <p:cNvPr id="9" name="Content Placeholder 8">
            <a:extLst>
              <a:ext uri="{FF2B5EF4-FFF2-40B4-BE49-F238E27FC236}">
                <a16:creationId xmlns:a16="http://schemas.microsoft.com/office/drawing/2014/main" id="{9131C86E-016E-9148-B8C1-2AE6AF057FDB}"/>
              </a:ext>
            </a:extLst>
          </p:cNvPr>
          <p:cNvSpPr>
            <a:spLocks noGrp="1"/>
          </p:cNvSpPr>
          <p:nvPr>
            <p:ph sz="quarter" idx="14"/>
          </p:nvPr>
        </p:nvSpPr>
        <p:spPr>
          <a:xfrm>
            <a:off x="421532" y="2180736"/>
            <a:ext cx="5191429" cy="40634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a:extLst>
              <a:ext uri="{FF2B5EF4-FFF2-40B4-BE49-F238E27FC236}">
                <a16:creationId xmlns:a16="http://schemas.microsoft.com/office/drawing/2014/main" id="{4682AEF4-3FAB-C64B-9953-8DCB604D9550}"/>
              </a:ext>
            </a:extLst>
          </p:cNvPr>
          <p:cNvSpPr>
            <a:spLocks noGrp="1"/>
          </p:cNvSpPr>
          <p:nvPr>
            <p:ph sz="quarter" idx="15"/>
          </p:nvPr>
        </p:nvSpPr>
        <p:spPr>
          <a:xfrm>
            <a:off x="6554183" y="2179983"/>
            <a:ext cx="5191429" cy="40634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a:extLst>
              <a:ext uri="{FF2B5EF4-FFF2-40B4-BE49-F238E27FC236}">
                <a16:creationId xmlns:a16="http://schemas.microsoft.com/office/drawing/2014/main" id="{D89A0D41-66DB-D14A-9B48-E874D8BA6563}"/>
              </a:ext>
            </a:extLst>
          </p:cNvPr>
          <p:cNvCxnSpPr>
            <a:cxnSpLocks/>
          </p:cNvCxnSpPr>
          <p:nvPr userDrawn="1"/>
        </p:nvCxnSpPr>
        <p:spPr>
          <a:xfrm>
            <a:off x="6096000" y="2184085"/>
            <a:ext cx="0" cy="4089300"/>
          </a:xfrm>
          <a:prstGeom prst="line">
            <a:avLst/>
          </a:prstGeom>
          <a:ln w="25400">
            <a:solidFill>
              <a:srgbClr val="649A3D"/>
            </a:solidFill>
          </a:ln>
        </p:spPr>
        <p:style>
          <a:lnRef idx="1">
            <a:schemeClr val="accent1"/>
          </a:lnRef>
          <a:fillRef idx="0">
            <a:schemeClr val="accent1"/>
          </a:fillRef>
          <a:effectRef idx="0">
            <a:schemeClr val="accent1"/>
          </a:effectRef>
          <a:fontRef idx="minor">
            <a:schemeClr val="tx1"/>
          </a:fontRef>
        </p:style>
      </p:cxnSp>
      <p:sp>
        <p:nvSpPr>
          <p:cNvPr id="15" name="Text Placeholder 6">
            <a:extLst>
              <a:ext uri="{FF2B5EF4-FFF2-40B4-BE49-F238E27FC236}">
                <a16:creationId xmlns:a16="http://schemas.microsoft.com/office/drawing/2014/main" id="{57E135C8-A0E8-694C-BAA8-97DAC4885FC4}"/>
              </a:ext>
            </a:extLst>
          </p:cNvPr>
          <p:cNvSpPr>
            <a:spLocks noGrp="1"/>
          </p:cNvSpPr>
          <p:nvPr>
            <p:ph type="body" sz="quarter" idx="11"/>
          </p:nvPr>
        </p:nvSpPr>
        <p:spPr>
          <a:xfrm>
            <a:off x="421531" y="1269627"/>
            <a:ext cx="11324083" cy="400050"/>
          </a:xfrm>
          <a:prstGeom prst="rect">
            <a:avLst/>
          </a:prstGeom>
        </p:spPr>
        <p:txBody>
          <a:bodyPr/>
          <a:lstStyle>
            <a:lvl1pPr marL="0" indent="0">
              <a:buNone/>
              <a:defRPr sz="2000" b="1">
                <a:solidFill>
                  <a:srgbClr val="649A3D"/>
                </a:solidFill>
                <a:latin typeface="Arial" panose="020B0604020202020204" pitchFamily="34" charset="0"/>
                <a:ea typeface="Segoe UI Historic" panose="020B0502040204020203" pitchFamily="34" charset="0"/>
                <a:cs typeface="Arial" panose="020B0604020202020204" pitchFamily="34" charset="0"/>
              </a:defRPr>
            </a:lvl1pPr>
            <a:lvl2pPr marL="457200" indent="0">
              <a:buNone/>
              <a:defRPr sz="2800">
                <a:latin typeface="Segoe UI Historic" panose="020B0502040204020203" pitchFamily="34" charset="0"/>
                <a:ea typeface="Segoe UI Historic" panose="020B0502040204020203" pitchFamily="34" charset="0"/>
                <a:cs typeface="Segoe UI Historic" panose="020B0502040204020203" pitchFamily="34" charset="0"/>
              </a:defRPr>
            </a:lvl2pPr>
            <a:lvl3pPr marL="914400" indent="0">
              <a:buNone/>
              <a:defRPr sz="2400">
                <a:latin typeface="Segoe UI Historic" panose="020B0502040204020203" pitchFamily="34" charset="0"/>
                <a:ea typeface="Segoe UI Historic" panose="020B0502040204020203" pitchFamily="34" charset="0"/>
                <a:cs typeface="Segoe UI Historic" panose="020B0502040204020203" pitchFamily="34" charset="0"/>
              </a:defRPr>
            </a:lvl3pPr>
            <a:lvl4pPr marL="1371600" indent="0">
              <a:buNone/>
              <a:defRPr sz="2000">
                <a:latin typeface="Segoe UI Historic" panose="020B0502040204020203" pitchFamily="34" charset="0"/>
                <a:ea typeface="Segoe UI Historic" panose="020B0502040204020203" pitchFamily="34" charset="0"/>
                <a:cs typeface="Segoe UI Historic" panose="020B0502040204020203" pitchFamily="34" charset="0"/>
              </a:defRPr>
            </a:lvl4pPr>
            <a:lvl5pPr marL="1828800" indent="0">
              <a:buNone/>
              <a:defRPr sz="2000">
                <a:latin typeface="Segoe UI Historic" panose="020B0502040204020203" pitchFamily="34" charset="0"/>
                <a:ea typeface="Segoe UI Historic" panose="020B0502040204020203" pitchFamily="34" charset="0"/>
                <a:cs typeface="Segoe UI Historic" panose="020B0502040204020203" pitchFamily="34" charset="0"/>
              </a:defRPr>
            </a:lvl5pPr>
          </a:lstStyle>
          <a:p>
            <a:pPr lvl="0"/>
            <a:r>
              <a:rPr lang="en-US"/>
              <a:t>Click to edit Master text styles</a:t>
            </a:r>
          </a:p>
        </p:txBody>
      </p:sp>
      <p:cxnSp>
        <p:nvCxnSpPr>
          <p:cNvPr id="19" name="Straight Connector 18">
            <a:extLst>
              <a:ext uri="{FF2B5EF4-FFF2-40B4-BE49-F238E27FC236}">
                <a16:creationId xmlns:a16="http://schemas.microsoft.com/office/drawing/2014/main" id="{1EBFBB62-D9A6-3442-A08A-59B6AC47637B}"/>
              </a:ext>
            </a:extLst>
          </p:cNvPr>
          <p:cNvCxnSpPr>
            <a:cxnSpLocks/>
          </p:cNvCxnSpPr>
          <p:nvPr userDrawn="1"/>
        </p:nvCxnSpPr>
        <p:spPr>
          <a:xfrm>
            <a:off x="0" y="17697"/>
            <a:ext cx="12192000" cy="0"/>
          </a:xfrm>
          <a:prstGeom prst="line">
            <a:avLst/>
          </a:prstGeom>
          <a:ln w="50800" cap="flat" cmpd="sng">
            <a:solidFill>
              <a:srgbClr val="649A3D"/>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0624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lide - Img Left + Lis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B0F13BA3-EB1F-2741-8389-FD7B03D06051}"/>
              </a:ext>
            </a:extLst>
          </p:cNvPr>
          <p:cNvSpPr>
            <a:spLocks noGrp="1"/>
          </p:cNvSpPr>
          <p:nvPr>
            <p:ph type="pic" sz="quarter" idx="11"/>
          </p:nvPr>
        </p:nvSpPr>
        <p:spPr>
          <a:xfrm>
            <a:off x="0" y="0"/>
            <a:ext cx="4724400" cy="6505255"/>
          </a:xfrm>
          <a:prstGeom prst="rect">
            <a:avLst/>
          </a:prstGeom>
        </p:spPr>
        <p:txBody>
          <a:bodyPr/>
          <a:lstStyle/>
          <a:p>
            <a:r>
              <a:rPr lang="en-US"/>
              <a:t>Click icon to add picture</a:t>
            </a:r>
          </a:p>
        </p:txBody>
      </p:sp>
      <p:sp>
        <p:nvSpPr>
          <p:cNvPr id="2" name="Footer Placeholder 1">
            <a:extLst>
              <a:ext uri="{FF2B5EF4-FFF2-40B4-BE49-F238E27FC236}">
                <a16:creationId xmlns:a16="http://schemas.microsoft.com/office/drawing/2014/main" id="{AA335FE1-9B1B-884B-9F9D-CD4E72D7DB60}"/>
              </a:ext>
            </a:extLst>
          </p:cNvPr>
          <p:cNvSpPr>
            <a:spLocks noGrp="1"/>
          </p:cNvSpPr>
          <p:nvPr>
            <p:ph type="ftr" sz="quarter" idx="12"/>
          </p:nvPr>
        </p:nvSpPr>
        <p:spPr/>
        <p:txBody>
          <a:bodyPr/>
          <a:lstStyle/>
          <a:p>
            <a:endParaRPr lang="en-US"/>
          </a:p>
        </p:txBody>
      </p:sp>
      <p:sp>
        <p:nvSpPr>
          <p:cNvPr id="6" name="Content Placeholder 5">
            <a:extLst>
              <a:ext uri="{FF2B5EF4-FFF2-40B4-BE49-F238E27FC236}">
                <a16:creationId xmlns:a16="http://schemas.microsoft.com/office/drawing/2014/main" id="{AD952D97-4821-3A4C-9FE8-C404F9635392}"/>
              </a:ext>
            </a:extLst>
          </p:cNvPr>
          <p:cNvSpPr>
            <a:spLocks noGrp="1"/>
          </p:cNvSpPr>
          <p:nvPr>
            <p:ph sz="quarter" idx="15"/>
          </p:nvPr>
        </p:nvSpPr>
        <p:spPr>
          <a:xfrm>
            <a:off x="5106988" y="771525"/>
            <a:ext cx="6699189" cy="54286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ABB128D9-8E4F-A544-BEE9-9BDAFB104C16}"/>
              </a:ext>
            </a:extLst>
          </p:cNvPr>
          <p:cNvCxnSpPr>
            <a:cxnSpLocks/>
          </p:cNvCxnSpPr>
          <p:nvPr userDrawn="1"/>
        </p:nvCxnSpPr>
        <p:spPr>
          <a:xfrm>
            <a:off x="0" y="17697"/>
            <a:ext cx="12192000" cy="0"/>
          </a:xfrm>
          <a:prstGeom prst="line">
            <a:avLst/>
          </a:prstGeom>
          <a:ln w="50800" cap="flat" cmpd="sng">
            <a:solidFill>
              <a:srgbClr val="649A3D"/>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2726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lide - Img Right + Lis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B0F13BA3-EB1F-2741-8389-FD7B03D06051}"/>
              </a:ext>
            </a:extLst>
          </p:cNvPr>
          <p:cNvSpPr>
            <a:spLocks noGrp="1"/>
          </p:cNvSpPr>
          <p:nvPr>
            <p:ph type="pic" sz="quarter" idx="11"/>
          </p:nvPr>
        </p:nvSpPr>
        <p:spPr>
          <a:xfrm>
            <a:off x="7467600" y="-1"/>
            <a:ext cx="4724400" cy="6505251"/>
          </a:xfrm>
          <a:prstGeom prst="rect">
            <a:avLst/>
          </a:prstGeom>
        </p:spPr>
        <p:txBody>
          <a:bodyPr/>
          <a:lstStyle/>
          <a:p>
            <a:r>
              <a:rPr lang="en-US"/>
              <a:t>Click icon to add picture</a:t>
            </a:r>
          </a:p>
        </p:txBody>
      </p:sp>
      <p:sp>
        <p:nvSpPr>
          <p:cNvPr id="2" name="Footer Placeholder 1">
            <a:extLst>
              <a:ext uri="{FF2B5EF4-FFF2-40B4-BE49-F238E27FC236}">
                <a16:creationId xmlns:a16="http://schemas.microsoft.com/office/drawing/2014/main" id="{5EC63069-B968-9D40-BF93-A56CA5FA1E0E}"/>
              </a:ext>
            </a:extLst>
          </p:cNvPr>
          <p:cNvSpPr>
            <a:spLocks noGrp="1"/>
          </p:cNvSpPr>
          <p:nvPr>
            <p:ph type="ftr" sz="quarter" idx="12"/>
          </p:nvPr>
        </p:nvSpPr>
        <p:spPr/>
        <p:txBody>
          <a:bodyPr/>
          <a:lstStyle/>
          <a:p>
            <a:endParaRPr lang="en-US"/>
          </a:p>
        </p:txBody>
      </p:sp>
      <p:sp>
        <p:nvSpPr>
          <p:cNvPr id="6" name="Content Placeholder 5">
            <a:extLst>
              <a:ext uri="{FF2B5EF4-FFF2-40B4-BE49-F238E27FC236}">
                <a16:creationId xmlns:a16="http://schemas.microsoft.com/office/drawing/2014/main" id="{0322C917-E5C0-7944-B597-B98F98A42A6D}"/>
              </a:ext>
            </a:extLst>
          </p:cNvPr>
          <p:cNvSpPr>
            <a:spLocks noGrp="1"/>
          </p:cNvSpPr>
          <p:nvPr>
            <p:ph sz="quarter" idx="15"/>
          </p:nvPr>
        </p:nvSpPr>
        <p:spPr>
          <a:xfrm>
            <a:off x="422275" y="765175"/>
            <a:ext cx="6597771" cy="54877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57BC4146-48B1-054F-AEDC-3026A49A23BD}"/>
              </a:ext>
            </a:extLst>
          </p:cNvPr>
          <p:cNvCxnSpPr>
            <a:cxnSpLocks/>
          </p:cNvCxnSpPr>
          <p:nvPr userDrawn="1"/>
        </p:nvCxnSpPr>
        <p:spPr>
          <a:xfrm>
            <a:off x="0" y="0"/>
            <a:ext cx="12192000" cy="0"/>
          </a:xfrm>
          <a:prstGeom prst="line">
            <a:avLst/>
          </a:prstGeom>
          <a:ln w="50800" cap="flat" cmpd="sng">
            <a:solidFill>
              <a:srgbClr val="649A3D"/>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3228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lide - Header Only #3">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D1FC9361-6746-004A-992B-F8B3928BE1B2}"/>
              </a:ext>
            </a:extLst>
          </p:cNvPr>
          <p:cNvSpPr>
            <a:spLocks noGrp="1"/>
          </p:cNvSpPr>
          <p:nvPr>
            <p:ph type="ftr" sz="quarter" idx="10"/>
          </p:nvPr>
        </p:nvSpPr>
        <p:spPr/>
        <p:txBody>
          <a:bodyPr/>
          <a:lstStyle/>
          <a:p>
            <a:endParaRPr lang="en-US"/>
          </a:p>
        </p:txBody>
      </p:sp>
      <p:sp>
        <p:nvSpPr>
          <p:cNvPr id="9" name="Title 8">
            <a:extLst>
              <a:ext uri="{FF2B5EF4-FFF2-40B4-BE49-F238E27FC236}">
                <a16:creationId xmlns:a16="http://schemas.microsoft.com/office/drawing/2014/main" id="{B755F45F-5592-B84B-806D-857CFD3FBE4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1951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lide - Header + Subhead #3">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F52DBD38-538A-7E4C-BE01-88A7D58326FB}"/>
              </a:ext>
            </a:extLst>
          </p:cNvPr>
          <p:cNvSpPr>
            <a:spLocks noGrp="1"/>
          </p:cNvSpPr>
          <p:nvPr>
            <p:ph type="body" sz="quarter" idx="11"/>
          </p:nvPr>
        </p:nvSpPr>
        <p:spPr>
          <a:xfrm>
            <a:off x="421531" y="1269627"/>
            <a:ext cx="11324083" cy="400050"/>
          </a:xfrm>
          <a:prstGeom prst="rect">
            <a:avLst/>
          </a:prstGeom>
        </p:spPr>
        <p:txBody>
          <a:bodyPr/>
          <a:lstStyle>
            <a:lvl1pPr marL="0" indent="0">
              <a:buNone/>
              <a:defRPr sz="2000" b="1">
                <a:solidFill>
                  <a:srgbClr val="649A3D"/>
                </a:solidFill>
                <a:latin typeface="Arial" panose="020B0604020202020204" pitchFamily="34" charset="0"/>
                <a:ea typeface="Segoe UI Historic" panose="020B0502040204020203" pitchFamily="34" charset="0"/>
                <a:cs typeface="Arial" panose="020B0604020202020204" pitchFamily="34" charset="0"/>
              </a:defRPr>
            </a:lvl1pPr>
            <a:lvl2pPr marL="457200" indent="0">
              <a:buNone/>
              <a:defRPr sz="2800">
                <a:latin typeface="Segoe UI Historic" panose="020B0502040204020203" pitchFamily="34" charset="0"/>
                <a:ea typeface="Segoe UI Historic" panose="020B0502040204020203" pitchFamily="34" charset="0"/>
                <a:cs typeface="Segoe UI Historic" panose="020B0502040204020203" pitchFamily="34" charset="0"/>
              </a:defRPr>
            </a:lvl2pPr>
            <a:lvl3pPr marL="914400" indent="0">
              <a:buNone/>
              <a:defRPr sz="2400">
                <a:latin typeface="Segoe UI Historic" panose="020B0502040204020203" pitchFamily="34" charset="0"/>
                <a:ea typeface="Segoe UI Historic" panose="020B0502040204020203" pitchFamily="34" charset="0"/>
                <a:cs typeface="Segoe UI Historic" panose="020B0502040204020203" pitchFamily="34" charset="0"/>
              </a:defRPr>
            </a:lvl3pPr>
            <a:lvl4pPr marL="1371600" indent="0">
              <a:buNone/>
              <a:defRPr sz="2000">
                <a:latin typeface="Segoe UI Historic" panose="020B0502040204020203" pitchFamily="34" charset="0"/>
                <a:ea typeface="Segoe UI Historic" panose="020B0502040204020203" pitchFamily="34" charset="0"/>
                <a:cs typeface="Segoe UI Historic" panose="020B0502040204020203" pitchFamily="34" charset="0"/>
              </a:defRPr>
            </a:lvl4pPr>
            <a:lvl5pPr marL="1828800" indent="0">
              <a:buNone/>
              <a:defRPr sz="2000">
                <a:latin typeface="Segoe UI Historic" panose="020B0502040204020203" pitchFamily="34" charset="0"/>
                <a:ea typeface="Segoe UI Historic" panose="020B0502040204020203" pitchFamily="34" charset="0"/>
                <a:cs typeface="Segoe UI Historic" panose="020B0502040204020203" pitchFamily="34" charset="0"/>
              </a:defRPr>
            </a:lvl5pPr>
          </a:lstStyle>
          <a:p>
            <a:pPr lvl="0"/>
            <a:r>
              <a:rPr lang="en-US"/>
              <a:t>Click to edit Master text styles</a:t>
            </a:r>
          </a:p>
        </p:txBody>
      </p:sp>
      <p:sp>
        <p:nvSpPr>
          <p:cNvPr id="6" name="Footer Placeholder 5">
            <a:extLst>
              <a:ext uri="{FF2B5EF4-FFF2-40B4-BE49-F238E27FC236}">
                <a16:creationId xmlns:a16="http://schemas.microsoft.com/office/drawing/2014/main" id="{12AA9203-8B1A-7B4F-9B58-474CE26F7385}"/>
              </a:ext>
            </a:extLst>
          </p:cNvPr>
          <p:cNvSpPr>
            <a:spLocks noGrp="1"/>
          </p:cNvSpPr>
          <p:nvPr>
            <p:ph type="ftr" sz="quarter" idx="12"/>
          </p:nvPr>
        </p:nvSpPr>
        <p:spPr/>
        <p:txBody>
          <a:bodyPr/>
          <a:lstStyle/>
          <a:p>
            <a:endParaRPr lang="en-US"/>
          </a:p>
        </p:txBody>
      </p:sp>
      <p:sp>
        <p:nvSpPr>
          <p:cNvPr id="21" name="Title 20">
            <a:extLst>
              <a:ext uri="{FF2B5EF4-FFF2-40B4-BE49-F238E27FC236}">
                <a16:creationId xmlns:a16="http://schemas.microsoft.com/office/drawing/2014/main" id="{3B3C6163-9A98-6B41-B176-5647E0464D6E}"/>
              </a:ext>
            </a:extLst>
          </p:cNvPr>
          <p:cNvSpPr>
            <a:spLocks noGrp="1"/>
          </p:cNvSpPr>
          <p:nvPr>
            <p:ph type="title"/>
          </p:nvPr>
        </p:nvSpPr>
        <p:spPr>
          <a:xfrm>
            <a:off x="421532" y="295156"/>
            <a:ext cx="11324083" cy="897038"/>
          </a:xfrm>
        </p:spPr>
        <p:txBody>
          <a:bodyPr/>
          <a:lstStyle/>
          <a:p>
            <a:r>
              <a:rPr lang="en-US"/>
              <a:t>Click to edit Master title style</a:t>
            </a:r>
          </a:p>
        </p:txBody>
      </p:sp>
    </p:spTree>
    <p:extLst>
      <p:ext uri="{BB962C8B-B14F-4D97-AF65-F5344CB8AC3E}">
        <p14:creationId xmlns:p14="http://schemas.microsoft.com/office/powerpoint/2010/main" val="2303748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lide - Left Sidebar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B91EB1F-53CE-F742-8A34-17357C74665D}"/>
              </a:ext>
            </a:extLst>
          </p:cNvPr>
          <p:cNvSpPr/>
          <p:nvPr/>
        </p:nvSpPr>
        <p:spPr>
          <a:xfrm>
            <a:off x="0" y="0"/>
            <a:ext cx="4713288" cy="6858000"/>
          </a:xfrm>
          <a:prstGeom prst="rect">
            <a:avLst/>
          </a:prstGeom>
          <a:solidFill>
            <a:srgbClr val="2A2A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Footer Placeholder 1">
            <a:extLst>
              <a:ext uri="{FF2B5EF4-FFF2-40B4-BE49-F238E27FC236}">
                <a16:creationId xmlns:a16="http://schemas.microsoft.com/office/drawing/2014/main" id="{3AC1A87A-4632-D34C-AC02-3F4AEF79D52D}"/>
              </a:ext>
            </a:extLst>
          </p:cNvPr>
          <p:cNvSpPr>
            <a:spLocks noGrp="1"/>
          </p:cNvSpPr>
          <p:nvPr>
            <p:ph type="ftr" sz="quarter" idx="10"/>
          </p:nvPr>
        </p:nvSpPr>
        <p:spPr/>
        <p:txBody>
          <a:bodyPr/>
          <a:lstStyle/>
          <a:p>
            <a:endParaRPr lang="en-US"/>
          </a:p>
        </p:txBody>
      </p:sp>
      <p:pic>
        <p:nvPicPr>
          <p:cNvPr id="12" name="Picture 11">
            <a:extLst>
              <a:ext uri="{FF2B5EF4-FFF2-40B4-BE49-F238E27FC236}">
                <a16:creationId xmlns:a16="http://schemas.microsoft.com/office/drawing/2014/main" id="{F210B1B9-5744-3742-8988-C82461BF65B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21026" y="6578573"/>
            <a:ext cx="219667" cy="219667"/>
          </a:xfrm>
          <a:prstGeom prst="rect">
            <a:avLst/>
          </a:prstGeom>
        </p:spPr>
      </p:pic>
      <p:sp>
        <p:nvSpPr>
          <p:cNvPr id="3" name="Title 2">
            <a:extLst>
              <a:ext uri="{FF2B5EF4-FFF2-40B4-BE49-F238E27FC236}">
                <a16:creationId xmlns:a16="http://schemas.microsoft.com/office/drawing/2014/main" id="{AAE03862-59BD-B746-A857-96A583B55652}"/>
              </a:ext>
            </a:extLst>
          </p:cNvPr>
          <p:cNvSpPr>
            <a:spLocks noGrp="1"/>
          </p:cNvSpPr>
          <p:nvPr>
            <p:ph type="title"/>
          </p:nvPr>
        </p:nvSpPr>
        <p:spPr>
          <a:xfrm>
            <a:off x="421532" y="796413"/>
            <a:ext cx="3796507" cy="4908264"/>
          </a:xfrm>
        </p:spPr>
        <p:txBody>
          <a:bodyPr anchor="ctr" anchorCtr="0"/>
          <a:lstStyle>
            <a:lvl1pPr>
              <a:defRPr sz="3600">
                <a:solidFill>
                  <a:srgbClr val="649A3D"/>
                </a:solidFill>
              </a:defRPr>
            </a:lvl1pPr>
          </a:lstStyle>
          <a:p>
            <a:r>
              <a:rPr lang="en-US"/>
              <a:t>Click to edit Master title style</a:t>
            </a:r>
          </a:p>
        </p:txBody>
      </p:sp>
      <p:sp>
        <p:nvSpPr>
          <p:cNvPr id="14" name="Text Placeholder 6">
            <a:extLst>
              <a:ext uri="{FF2B5EF4-FFF2-40B4-BE49-F238E27FC236}">
                <a16:creationId xmlns:a16="http://schemas.microsoft.com/office/drawing/2014/main" id="{37B729D9-661A-CB4C-8CEE-23DC0BB45ECA}"/>
              </a:ext>
            </a:extLst>
          </p:cNvPr>
          <p:cNvSpPr>
            <a:spLocks noGrp="1"/>
          </p:cNvSpPr>
          <p:nvPr>
            <p:ph type="body" sz="quarter" idx="11"/>
          </p:nvPr>
        </p:nvSpPr>
        <p:spPr>
          <a:xfrm>
            <a:off x="5102352" y="1269627"/>
            <a:ext cx="6667990" cy="400050"/>
          </a:xfrm>
          <a:prstGeom prst="rect">
            <a:avLst/>
          </a:prstGeom>
        </p:spPr>
        <p:txBody>
          <a:bodyPr/>
          <a:lstStyle>
            <a:lvl1pPr marL="0" indent="0">
              <a:buNone/>
              <a:defRPr sz="2000" b="1">
                <a:solidFill>
                  <a:srgbClr val="649A3D"/>
                </a:solidFill>
                <a:latin typeface="Arial" panose="020B0604020202020204" pitchFamily="34" charset="0"/>
                <a:ea typeface="Segoe UI Historic" panose="020B0502040204020203" pitchFamily="34" charset="0"/>
                <a:cs typeface="Arial" panose="020B0604020202020204" pitchFamily="34" charset="0"/>
              </a:defRPr>
            </a:lvl1pPr>
            <a:lvl2pPr marL="457200" indent="0">
              <a:buNone/>
              <a:defRPr sz="2800">
                <a:latin typeface="Segoe UI Historic" panose="020B0502040204020203" pitchFamily="34" charset="0"/>
                <a:ea typeface="Segoe UI Historic" panose="020B0502040204020203" pitchFamily="34" charset="0"/>
                <a:cs typeface="Segoe UI Historic" panose="020B0502040204020203" pitchFamily="34" charset="0"/>
              </a:defRPr>
            </a:lvl2pPr>
            <a:lvl3pPr marL="914400" indent="0">
              <a:buNone/>
              <a:defRPr sz="2400">
                <a:latin typeface="Segoe UI Historic" panose="020B0502040204020203" pitchFamily="34" charset="0"/>
                <a:ea typeface="Segoe UI Historic" panose="020B0502040204020203" pitchFamily="34" charset="0"/>
                <a:cs typeface="Segoe UI Historic" panose="020B0502040204020203" pitchFamily="34" charset="0"/>
              </a:defRPr>
            </a:lvl3pPr>
            <a:lvl4pPr marL="1371600" indent="0">
              <a:buNone/>
              <a:defRPr sz="2000">
                <a:latin typeface="Segoe UI Historic" panose="020B0502040204020203" pitchFamily="34" charset="0"/>
                <a:ea typeface="Segoe UI Historic" panose="020B0502040204020203" pitchFamily="34" charset="0"/>
                <a:cs typeface="Segoe UI Historic" panose="020B0502040204020203" pitchFamily="34" charset="0"/>
              </a:defRPr>
            </a:lvl4pPr>
            <a:lvl5pPr marL="1828800" indent="0">
              <a:buNone/>
              <a:defRPr sz="2000">
                <a:latin typeface="Segoe UI Historic" panose="020B0502040204020203" pitchFamily="34" charset="0"/>
                <a:ea typeface="Segoe UI Historic" panose="020B0502040204020203" pitchFamily="34" charset="0"/>
                <a:cs typeface="Segoe UI Historic" panose="020B0502040204020203" pitchFamily="34" charset="0"/>
              </a:defRPr>
            </a:lvl5pPr>
          </a:lstStyle>
          <a:p>
            <a:pPr lvl="0"/>
            <a:r>
              <a:rPr lang="en-US"/>
              <a:t>Click to edit Master text styles</a:t>
            </a:r>
          </a:p>
        </p:txBody>
      </p:sp>
      <p:sp>
        <p:nvSpPr>
          <p:cNvPr id="16" name="TextBox 11">
            <a:extLst>
              <a:ext uri="{FF2B5EF4-FFF2-40B4-BE49-F238E27FC236}">
                <a16:creationId xmlns:a16="http://schemas.microsoft.com/office/drawing/2014/main" id="{7C8FEF87-4DAB-AE48-BF9C-B5553F672B1D}"/>
              </a:ext>
            </a:extLst>
          </p:cNvPr>
          <p:cNvSpPr txBox="1">
            <a:spLocks noChangeArrowheads="1"/>
          </p:cNvSpPr>
          <p:nvPr userDrawn="1"/>
        </p:nvSpPr>
        <p:spPr bwMode="auto">
          <a:xfrm>
            <a:off x="11111468" y="6584250"/>
            <a:ext cx="96212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r>
              <a:rPr lang="en-US" altLang="en-US" sz="700">
                <a:solidFill>
                  <a:srgbClr val="649A3D"/>
                </a:solidFill>
                <a:latin typeface="Arial" panose="020B0604020202020204" pitchFamily="34" charset="0"/>
                <a:ea typeface="Segoe UI Historic" panose="020B0502040204020203" pitchFamily="34" charset="0"/>
                <a:cs typeface="Arial" panose="020B0604020202020204" pitchFamily="34" charset="0"/>
              </a:rPr>
              <a:t>|</a:t>
            </a:r>
            <a:r>
              <a:rPr lang="en-US" altLang="en-US" sz="700">
                <a:solidFill>
                  <a:srgbClr val="AAAAAA"/>
                </a:solidFill>
                <a:latin typeface="Arial" panose="020B0604020202020204" pitchFamily="34" charset="0"/>
                <a:ea typeface="Segoe UI Historic" panose="020B0502040204020203" pitchFamily="34" charset="0"/>
                <a:cs typeface="Arial" panose="020B0604020202020204" pitchFamily="34" charset="0"/>
              </a:rPr>
              <a:t>    © Digital.ai.2020</a:t>
            </a:r>
          </a:p>
        </p:txBody>
      </p:sp>
      <p:sp>
        <p:nvSpPr>
          <p:cNvPr id="17" name="Slide Number Placeholder 2">
            <a:extLst>
              <a:ext uri="{FF2B5EF4-FFF2-40B4-BE49-F238E27FC236}">
                <a16:creationId xmlns:a16="http://schemas.microsoft.com/office/drawing/2014/main" id="{BDDB291D-9B4C-8D4B-9AF0-24306EF536BD}"/>
              </a:ext>
            </a:extLst>
          </p:cNvPr>
          <p:cNvSpPr>
            <a:spLocks noGrp="1"/>
          </p:cNvSpPr>
          <p:nvPr>
            <p:ph type="sldNum" sz="quarter" idx="4"/>
          </p:nvPr>
        </p:nvSpPr>
        <p:spPr>
          <a:xfrm>
            <a:off x="8439520" y="6505259"/>
            <a:ext cx="2743200" cy="365125"/>
          </a:xfrm>
          <a:prstGeom prst="rect">
            <a:avLst/>
          </a:prstGeom>
        </p:spPr>
        <p:txBody>
          <a:bodyPr vert="horz" lIns="91440" tIns="45720" rIns="91440" bIns="45720" rtlCol="0" anchor="ctr"/>
          <a:lstStyle>
            <a:lvl1pPr algn="r">
              <a:defRPr sz="700">
                <a:solidFill>
                  <a:srgbClr val="AAAAAA"/>
                </a:solidFill>
                <a:latin typeface="Arial" panose="020B0604020202020204" pitchFamily="34" charset="0"/>
                <a:cs typeface="Arial" panose="020B0604020202020204" pitchFamily="34" charset="0"/>
              </a:defRPr>
            </a:lvl1pPr>
          </a:lstStyle>
          <a:p>
            <a:fld id="{693D370C-058D-F24E-8416-E454F8EEB994}" type="slidenum">
              <a:rPr lang="en-US" smtClean="0"/>
              <a:pPr/>
              <a:t>‹#›</a:t>
            </a:fld>
            <a:endParaRPr lang="en-US"/>
          </a:p>
        </p:txBody>
      </p:sp>
      <p:sp>
        <p:nvSpPr>
          <p:cNvPr id="19" name="Text Placeholder 18">
            <a:extLst>
              <a:ext uri="{FF2B5EF4-FFF2-40B4-BE49-F238E27FC236}">
                <a16:creationId xmlns:a16="http://schemas.microsoft.com/office/drawing/2014/main" id="{98429FD4-2B46-C144-B214-7718FC28F7FC}"/>
              </a:ext>
            </a:extLst>
          </p:cNvPr>
          <p:cNvSpPr>
            <a:spLocks noGrp="1"/>
          </p:cNvSpPr>
          <p:nvPr>
            <p:ph type="body" sz="quarter" idx="16"/>
          </p:nvPr>
        </p:nvSpPr>
        <p:spPr>
          <a:xfrm>
            <a:off x="5102350" y="295155"/>
            <a:ext cx="6668117" cy="837905"/>
          </a:xfrm>
        </p:spPr>
        <p:txBody>
          <a:bodyPr anchor="b" anchorCtr="0"/>
          <a:lstStyle>
            <a:lvl1pPr marL="0" indent="0">
              <a:buNone/>
              <a:defRPr sz="2800" b="1">
                <a:solidFill>
                  <a:schemeClr val="tx1"/>
                </a:solidFill>
              </a:defRPr>
            </a:lvl1pPr>
            <a:lvl2pPr marL="346075" indent="0">
              <a:buNone/>
              <a:defRPr/>
            </a:lvl2pPr>
            <a:lvl3pPr marL="628650" indent="0">
              <a:buNone/>
              <a:defRPr/>
            </a:lvl3pPr>
            <a:lvl4pPr marL="857250" indent="0">
              <a:buNone/>
              <a:defRPr/>
            </a:lvl4pPr>
            <a:lvl5pPr marL="1150938" indent="0">
              <a:buNone/>
              <a:defRPr/>
            </a:lvl5pPr>
          </a:lstStyle>
          <a:p>
            <a:pPr lvl="0"/>
            <a:r>
              <a:rPr lang="en-US"/>
              <a:t>Click to edit Master text styles</a:t>
            </a:r>
          </a:p>
        </p:txBody>
      </p:sp>
      <p:sp>
        <p:nvSpPr>
          <p:cNvPr id="6" name="Content Placeholder 5">
            <a:extLst>
              <a:ext uri="{FF2B5EF4-FFF2-40B4-BE49-F238E27FC236}">
                <a16:creationId xmlns:a16="http://schemas.microsoft.com/office/drawing/2014/main" id="{5BBD64B1-0676-724E-AE9F-C46AE2C440AE}"/>
              </a:ext>
            </a:extLst>
          </p:cNvPr>
          <p:cNvSpPr>
            <a:spLocks noGrp="1"/>
          </p:cNvSpPr>
          <p:nvPr>
            <p:ph sz="quarter" idx="17"/>
          </p:nvPr>
        </p:nvSpPr>
        <p:spPr>
          <a:xfrm>
            <a:off x="5102225" y="1974574"/>
            <a:ext cx="6668117" cy="42256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2394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lide - Left Sidebar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B91EB1F-53CE-F742-8A34-17357C74665D}"/>
              </a:ext>
            </a:extLst>
          </p:cNvPr>
          <p:cNvSpPr/>
          <p:nvPr/>
        </p:nvSpPr>
        <p:spPr>
          <a:xfrm>
            <a:off x="0" y="0"/>
            <a:ext cx="4713288" cy="6858000"/>
          </a:xfrm>
          <a:prstGeom prst="rect">
            <a:avLst/>
          </a:prstGeom>
          <a:solidFill>
            <a:srgbClr val="2A2A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Footer Placeholder 1">
            <a:extLst>
              <a:ext uri="{FF2B5EF4-FFF2-40B4-BE49-F238E27FC236}">
                <a16:creationId xmlns:a16="http://schemas.microsoft.com/office/drawing/2014/main" id="{3AC1A87A-4632-D34C-AC02-3F4AEF79D52D}"/>
              </a:ext>
            </a:extLst>
          </p:cNvPr>
          <p:cNvSpPr>
            <a:spLocks noGrp="1"/>
          </p:cNvSpPr>
          <p:nvPr>
            <p:ph type="ftr" sz="quarter" idx="10"/>
          </p:nvPr>
        </p:nvSpPr>
        <p:spPr/>
        <p:txBody>
          <a:bodyPr/>
          <a:lstStyle/>
          <a:p>
            <a:endParaRPr lang="en-US"/>
          </a:p>
        </p:txBody>
      </p:sp>
      <p:pic>
        <p:nvPicPr>
          <p:cNvPr id="12" name="Picture 11">
            <a:extLst>
              <a:ext uri="{FF2B5EF4-FFF2-40B4-BE49-F238E27FC236}">
                <a16:creationId xmlns:a16="http://schemas.microsoft.com/office/drawing/2014/main" id="{F210B1B9-5744-3742-8988-C82461BF65B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21026" y="6578573"/>
            <a:ext cx="219667" cy="219667"/>
          </a:xfrm>
          <a:prstGeom prst="rect">
            <a:avLst/>
          </a:prstGeom>
        </p:spPr>
      </p:pic>
      <p:sp>
        <p:nvSpPr>
          <p:cNvPr id="3" name="Title 2">
            <a:extLst>
              <a:ext uri="{FF2B5EF4-FFF2-40B4-BE49-F238E27FC236}">
                <a16:creationId xmlns:a16="http://schemas.microsoft.com/office/drawing/2014/main" id="{AAE03862-59BD-B746-A857-96A583B55652}"/>
              </a:ext>
            </a:extLst>
          </p:cNvPr>
          <p:cNvSpPr>
            <a:spLocks noGrp="1"/>
          </p:cNvSpPr>
          <p:nvPr>
            <p:ph type="title"/>
          </p:nvPr>
        </p:nvSpPr>
        <p:spPr>
          <a:xfrm>
            <a:off x="421532" y="906336"/>
            <a:ext cx="3796507" cy="1374522"/>
          </a:xfrm>
        </p:spPr>
        <p:txBody>
          <a:bodyPr anchor="b" anchorCtr="0"/>
          <a:lstStyle>
            <a:lvl1pPr>
              <a:defRPr sz="2800">
                <a:solidFill>
                  <a:srgbClr val="649A3D"/>
                </a:solidFill>
              </a:defRPr>
            </a:lvl1pPr>
          </a:lstStyle>
          <a:p>
            <a:r>
              <a:rPr lang="en-US"/>
              <a:t>Click to edit Master title style</a:t>
            </a:r>
          </a:p>
        </p:txBody>
      </p:sp>
      <p:sp>
        <p:nvSpPr>
          <p:cNvPr id="16" name="TextBox 11">
            <a:extLst>
              <a:ext uri="{FF2B5EF4-FFF2-40B4-BE49-F238E27FC236}">
                <a16:creationId xmlns:a16="http://schemas.microsoft.com/office/drawing/2014/main" id="{7C8FEF87-4DAB-AE48-BF9C-B5553F672B1D}"/>
              </a:ext>
            </a:extLst>
          </p:cNvPr>
          <p:cNvSpPr txBox="1">
            <a:spLocks noChangeArrowheads="1"/>
          </p:cNvSpPr>
          <p:nvPr userDrawn="1"/>
        </p:nvSpPr>
        <p:spPr bwMode="auto">
          <a:xfrm>
            <a:off x="11111468" y="6584250"/>
            <a:ext cx="96212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r>
              <a:rPr lang="en-US" altLang="en-US" sz="700">
                <a:solidFill>
                  <a:srgbClr val="649A3D"/>
                </a:solidFill>
                <a:latin typeface="Arial" panose="020B0604020202020204" pitchFamily="34" charset="0"/>
                <a:ea typeface="Segoe UI Historic" panose="020B0502040204020203" pitchFamily="34" charset="0"/>
                <a:cs typeface="Arial" panose="020B0604020202020204" pitchFamily="34" charset="0"/>
              </a:rPr>
              <a:t>|</a:t>
            </a:r>
            <a:r>
              <a:rPr lang="en-US" altLang="en-US" sz="700">
                <a:solidFill>
                  <a:srgbClr val="AAAAAA"/>
                </a:solidFill>
                <a:latin typeface="Arial" panose="020B0604020202020204" pitchFamily="34" charset="0"/>
                <a:ea typeface="Segoe UI Historic" panose="020B0502040204020203" pitchFamily="34" charset="0"/>
                <a:cs typeface="Arial" panose="020B0604020202020204" pitchFamily="34" charset="0"/>
              </a:rPr>
              <a:t>    © Digital.ai.2020</a:t>
            </a:r>
          </a:p>
        </p:txBody>
      </p:sp>
      <p:sp>
        <p:nvSpPr>
          <p:cNvPr id="17" name="Slide Number Placeholder 2">
            <a:extLst>
              <a:ext uri="{FF2B5EF4-FFF2-40B4-BE49-F238E27FC236}">
                <a16:creationId xmlns:a16="http://schemas.microsoft.com/office/drawing/2014/main" id="{BDDB291D-9B4C-8D4B-9AF0-24306EF536BD}"/>
              </a:ext>
            </a:extLst>
          </p:cNvPr>
          <p:cNvSpPr>
            <a:spLocks noGrp="1"/>
          </p:cNvSpPr>
          <p:nvPr>
            <p:ph type="sldNum" sz="quarter" idx="4"/>
          </p:nvPr>
        </p:nvSpPr>
        <p:spPr>
          <a:xfrm>
            <a:off x="8439520" y="6505259"/>
            <a:ext cx="2743200" cy="365125"/>
          </a:xfrm>
          <a:prstGeom prst="rect">
            <a:avLst/>
          </a:prstGeom>
        </p:spPr>
        <p:txBody>
          <a:bodyPr vert="horz" lIns="91440" tIns="45720" rIns="91440" bIns="45720" rtlCol="0" anchor="ctr"/>
          <a:lstStyle>
            <a:lvl1pPr algn="r">
              <a:defRPr sz="700">
                <a:solidFill>
                  <a:srgbClr val="AAAAAA"/>
                </a:solidFill>
                <a:latin typeface="Arial" panose="020B0604020202020204" pitchFamily="34" charset="0"/>
                <a:cs typeface="Arial" panose="020B0604020202020204" pitchFamily="34" charset="0"/>
              </a:defRPr>
            </a:lvl1pPr>
          </a:lstStyle>
          <a:p>
            <a:fld id="{693D370C-058D-F24E-8416-E454F8EEB994}" type="slidenum">
              <a:rPr lang="en-US" smtClean="0"/>
              <a:pPr/>
              <a:t>‹#›</a:t>
            </a:fld>
            <a:endParaRPr lang="en-US"/>
          </a:p>
        </p:txBody>
      </p:sp>
      <p:sp>
        <p:nvSpPr>
          <p:cNvPr id="22" name="Text Placeholder 12">
            <a:extLst>
              <a:ext uri="{FF2B5EF4-FFF2-40B4-BE49-F238E27FC236}">
                <a16:creationId xmlns:a16="http://schemas.microsoft.com/office/drawing/2014/main" id="{0491EC62-8987-D446-B1C9-7F5034052952}"/>
              </a:ext>
            </a:extLst>
          </p:cNvPr>
          <p:cNvSpPr>
            <a:spLocks noGrp="1"/>
          </p:cNvSpPr>
          <p:nvPr>
            <p:ph type="body" sz="quarter" idx="17"/>
          </p:nvPr>
        </p:nvSpPr>
        <p:spPr>
          <a:xfrm>
            <a:off x="421532" y="2617304"/>
            <a:ext cx="3796507" cy="3750366"/>
          </a:xfrm>
        </p:spPr>
        <p:txBody>
          <a:bodyPr/>
          <a:lstStyle>
            <a:lvl1pPr>
              <a:spcBef>
                <a:spcPts val="200"/>
              </a:spcBef>
              <a:spcAft>
                <a:spcPts val="1400"/>
              </a:spcAft>
              <a:buClr>
                <a:srgbClr val="649A3D"/>
              </a:buClr>
              <a:defRPr>
                <a:solidFill>
                  <a:schemeClr val="bg1"/>
                </a:solidFill>
              </a:defRPr>
            </a:lvl1pPr>
            <a:lvl2pPr>
              <a:spcBef>
                <a:spcPts val="300"/>
              </a:spcBef>
              <a:buClr>
                <a:srgbClr val="649A3D"/>
              </a:buClr>
              <a:defRPr>
                <a:solidFill>
                  <a:schemeClr val="bg1"/>
                </a:solidFill>
              </a:defRPr>
            </a:lvl2pPr>
            <a:lvl3pPr>
              <a:spcBef>
                <a:spcPts val="300"/>
              </a:spcBef>
              <a:buClr>
                <a:srgbClr val="649A3D"/>
              </a:buClr>
              <a:defRPr>
                <a:solidFill>
                  <a:schemeClr val="bg1"/>
                </a:solidFill>
              </a:defRPr>
            </a:lvl3pPr>
            <a:lvl4pPr>
              <a:spcBef>
                <a:spcPts val="200"/>
              </a:spcBef>
              <a:buClr>
                <a:srgbClr val="649A3D"/>
              </a:buClr>
              <a:defRPr>
                <a:solidFill>
                  <a:schemeClr val="bg1"/>
                </a:solidFill>
              </a:defRPr>
            </a:lvl4pPr>
            <a:lvl5pPr>
              <a:buClr>
                <a:srgbClr val="649A3D"/>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1250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lide - Left Sidebar #3">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D28887A-E54A-E942-BB37-B0213A5495D5}"/>
              </a:ext>
            </a:extLst>
          </p:cNvPr>
          <p:cNvSpPr>
            <a:spLocks noGrp="1"/>
          </p:cNvSpPr>
          <p:nvPr>
            <p:ph type="ftr" sz="quarter" idx="10"/>
          </p:nvPr>
        </p:nvSpPr>
        <p:spPr/>
        <p:txBody>
          <a:bodyPr/>
          <a:lstStyle/>
          <a:p>
            <a:endParaRPr lang="en-US"/>
          </a:p>
        </p:txBody>
      </p:sp>
      <p:cxnSp>
        <p:nvCxnSpPr>
          <p:cNvPr id="10" name="Straight Connector 9">
            <a:extLst>
              <a:ext uri="{FF2B5EF4-FFF2-40B4-BE49-F238E27FC236}">
                <a16:creationId xmlns:a16="http://schemas.microsoft.com/office/drawing/2014/main" id="{BFFCB22E-5878-9043-922C-2D2E0ED57D73}"/>
              </a:ext>
            </a:extLst>
          </p:cNvPr>
          <p:cNvCxnSpPr>
            <a:cxnSpLocks/>
          </p:cNvCxnSpPr>
          <p:nvPr userDrawn="1"/>
        </p:nvCxnSpPr>
        <p:spPr>
          <a:xfrm>
            <a:off x="4500880" y="355600"/>
            <a:ext cx="0" cy="5876587"/>
          </a:xfrm>
          <a:prstGeom prst="line">
            <a:avLst/>
          </a:prstGeom>
          <a:ln w="50800" cap="flat" cmpd="sng">
            <a:solidFill>
              <a:srgbClr val="649A3D"/>
            </a:solidFill>
            <a:prstDash val="solid"/>
          </a:ln>
        </p:spPr>
        <p:style>
          <a:lnRef idx="1">
            <a:schemeClr val="accent1"/>
          </a:lnRef>
          <a:fillRef idx="0">
            <a:schemeClr val="accent1"/>
          </a:fillRef>
          <a:effectRef idx="0">
            <a:schemeClr val="accent1"/>
          </a:effectRef>
          <a:fontRef idx="minor">
            <a:schemeClr val="tx1"/>
          </a:fontRef>
        </p:style>
      </p:cxnSp>
      <p:sp>
        <p:nvSpPr>
          <p:cNvPr id="15" name="Title 14">
            <a:extLst>
              <a:ext uri="{FF2B5EF4-FFF2-40B4-BE49-F238E27FC236}">
                <a16:creationId xmlns:a16="http://schemas.microsoft.com/office/drawing/2014/main" id="{69CFC222-37FE-1E49-A809-84EA94F933FF}"/>
              </a:ext>
            </a:extLst>
          </p:cNvPr>
          <p:cNvSpPr>
            <a:spLocks noGrp="1"/>
          </p:cNvSpPr>
          <p:nvPr>
            <p:ph type="title"/>
          </p:nvPr>
        </p:nvSpPr>
        <p:spPr>
          <a:xfrm>
            <a:off x="421532" y="295155"/>
            <a:ext cx="3670565" cy="5937031"/>
          </a:xfrm>
        </p:spPr>
        <p:txBody>
          <a:bodyPr anchor="ctr" anchorCtr="0"/>
          <a:lstStyle/>
          <a:p>
            <a:r>
              <a:rPr lang="en-US"/>
              <a:t>Click to edit Master title style</a:t>
            </a:r>
          </a:p>
        </p:txBody>
      </p:sp>
      <p:sp>
        <p:nvSpPr>
          <p:cNvPr id="4" name="Content Placeholder 3">
            <a:extLst>
              <a:ext uri="{FF2B5EF4-FFF2-40B4-BE49-F238E27FC236}">
                <a16:creationId xmlns:a16="http://schemas.microsoft.com/office/drawing/2014/main" id="{5AC1D9AC-58B1-E446-8A1A-B8EB419406A3}"/>
              </a:ext>
            </a:extLst>
          </p:cNvPr>
          <p:cNvSpPr>
            <a:spLocks noGrp="1"/>
          </p:cNvSpPr>
          <p:nvPr>
            <p:ph sz="quarter" idx="11"/>
          </p:nvPr>
        </p:nvSpPr>
        <p:spPr>
          <a:xfrm>
            <a:off x="5035550" y="355600"/>
            <a:ext cx="6700838" cy="5876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265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 Header w/Pictur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B0F13BA3-EB1F-2741-8389-FD7B03D06051}"/>
              </a:ext>
            </a:extLst>
          </p:cNvPr>
          <p:cNvSpPr>
            <a:spLocks noGrp="1"/>
          </p:cNvSpPr>
          <p:nvPr>
            <p:ph type="pic" sz="quarter" idx="11"/>
          </p:nvPr>
        </p:nvSpPr>
        <p:spPr>
          <a:xfrm>
            <a:off x="0" y="1"/>
            <a:ext cx="4724400" cy="6505256"/>
          </a:xfrm>
          <a:prstGeom prst="rect">
            <a:avLst/>
          </a:prstGeom>
        </p:spPr>
        <p:txBody>
          <a:bodyPr/>
          <a:lstStyle/>
          <a:p>
            <a:r>
              <a:rPr lang="en-US"/>
              <a:t>Click icon to add picture</a:t>
            </a:r>
          </a:p>
        </p:txBody>
      </p:sp>
      <p:sp>
        <p:nvSpPr>
          <p:cNvPr id="3" name="Footer Placeholder 2">
            <a:extLst>
              <a:ext uri="{FF2B5EF4-FFF2-40B4-BE49-F238E27FC236}">
                <a16:creationId xmlns:a16="http://schemas.microsoft.com/office/drawing/2014/main" id="{BF1704B2-D267-E047-B442-8FBAB4313F9A}"/>
              </a:ext>
            </a:extLst>
          </p:cNvPr>
          <p:cNvSpPr>
            <a:spLocks noGrp="1"/>
          </p:cNvSpPr>
          <p:nvPr>
            <p:ph type="ftr" sz="quarter" idx="12"/>
          </p:nvPr>
        </p:nvSpPr>
        <p:spPr/>
        <p:txBody>
          <a:bodyPr/>
          <a:lstStyle/>
          <a:p>
            <a:endParaRPr lang="en-US"/>
          </a:p>
        </p:txBody>
      </p:sp>
      <p:cxnSp>
        <p:nvCxnSpPr>
          <p:cNvPr id="8" name="Straight Connector 7">
            <a:extLst>
              <a:ext uri="{FF2B5EF4-FFF2-40B4-BE49-F238E27FC236}">
                <a16:creationId xmlns:a16="http://schemas.microsoft.com/office/drawing/2014/main" id="{DC6041E2-049D-9940-8F3E-F4DC5CA585B2}"/>
              </a:ext>
            </a:extLst>
          </p:cNvPr>
          <p:cNvCxnSpPr>
            <a:cxnSpLocks/>
          </p:cNvCxnSpPr>
          <p:nvPr userDrawn="1"/>
        </p:nvCxnSpPr>
        <p:spPr>
          <a:xfrm>
            <a:off x="5106528" y="3305459"/>
            <a:ext cx="7085472" cy="0"/>
          </a:xfrm>
          <a:prstGeom prst="line">
            <a:avLst/>
          </a:prstGeom>
          <a:ln w="50800" cap="flat" cmpd="sng">
            <a:solidFill>
              <a:srgbClr val="649A3D"/>
            </a:solidFill>
            <a:prstDash val="soli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DE617AD-4598-EF4B-B0BE-75ACC7B0D4B5}"/>
              </a:ext>
            </a:extLst>
          </p:cNvPr>
          <p:cNvSpPr>
            <a:spLocks noGrp="1"/>
          </p:cNvSpPr>
          <p:nvPr>
            <p:ph type="title"/>
          </p:nvPr>
        </p:nvSpPr>
        <p:spPr>
          <a:xfrm>
            <a:off x="5106528" y="2348012"/>
            <a:ext cx="11324083" cy="897038"/>
          </a:xfrm>
        </p:spPr>
        <p:txBody>
          <a:bodyPr/>
          <a:lstStyle/>
          <a:p>
            <a:r>
              <a:rPr lang="en-US"/>
              <a:t>Click to edit Master title style</a:t>
            </a:r>
          </a:p>
        </p:txBody>
      </p:sp>
    </p:spTree>
    <p:extLst>
      <p:ext uri="{BB962C8B-B14F-4D97-AF65-F5344CB8AC3E}">
        <p14:creationId xmlns:p14="http://schemas.microsoft.com/office/powerpoint/2010/main" val="1129900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lide - Chart w/Left Sidebar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40D0880-ED66-344F-B622-5351B6E19975}"/>
              </a:ext>
            </a:extLst>
          </p:cNvPr>
          <p:cNvSpPr/>
          <p:nvPr userDrawn="1"/>
        </p:nvSpPr>
        <p:spPr>
          <a:xfrm>
            <a:off x="0" y="0"/>
            <a:ext cx="4713288" cy="6858000"/>
          </a:xfrm>
          <a:prstGeom prst="rect">
            <a:avLst/>
          </a:prstGeom>
          <a:solidFill>
            <a:srgbClr val="2A2A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8" name="Picture 7">
            <a:extLst>
              <a:ext uri="{FF2B5EF4-FFF2-40B4-BE49-F238E27FC236}">
                <a16:creationId xmlns:a16="http://schemas.microsoft.com/office/drawing/2014/main" id="{29CEFB20-0A78-454C-BB4A-CF7D7056EA3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21026" y="6578573"/>
            <a:ext cx="219667" cy="219667"/>
          </a:xfrm>
          <a:prstGeom prst="rect">
            <a:avLst/>
          </a:prstGeom>
        </p:spPr>
      </p:pic>
      <p:sp>
        <p:nvSpPr>
          <p:cNvPr id="9" name="TextBox 11">
            <a:extLst>
              <a:ext uri="{FF2B5EF4-FFF2-40B4-BE49-F238E27FC236}">
                <a16:creationId xmlns:a16="http://schemas.microsoft.com/office/drawing/2014/main" id="{C3E31142-3F17-7641-81B2-1EEEEC6CCDDB}"/>
              </a:ext>
            </a:extLst>
          </p:cNvPr>
          <p:cNvSpPr txBox="1">
            <a:spLocks noChangeArrowheads="1"/>
          </p:cNvSpPr>
          <p:nvPr userDrawn="1"/>
        </p:nvSpPr>
        <p:spPr bwMode="auto">
          <a:xfrm>
            <a:off x="11111468" y="6584250"/>
            <a:ext cx="96212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r>
              <a:rPr lang="en-US" altLang="en-US" sz="700">
                <a:solidFill>
                  <a:srgbClr val="649A3D"/>
                </a:solidFill>
                <a:latin typeface="Arial" panose="020B0604020202020204" pitchFamily="34" charset="0"/>
                <a:ea typeface="Segoe UI Historic" panose="020B0502040204020203" pitchFamily="34" charset="0"/>
                <a:cs typeface="Arial" panose="020B0604020202020204" pitchFamily="34" charset="0"/>
              </a:rPr>
              <a:t>|</a:t>
            </a:r>
            <a:r>
              <a:rPr lang="en-US" altLang="en-US" sz="700">
                <a:solidFill>
                  <a:srgbClr val="AAAAAA"/>
                </a:solidFill>
                <a:latin typeface="Arial" panose="020B0604020202020204" pitchFamily="34" charset="0"/>
                <a:ea typeface="Segoe UI Historic" panose="020B0502040204020203" pitchFamily="34" charset="0"/>
                <a:cs typeface="Arial" panose="020B0604020202020204" pitchFamily="34" charset="0"/>
              </a:rPr>
              <a:t>    © Digital.ai.2020</a:t>
            </a:r>
          </a:p>
        </p:txBody>
      </p:sp>
      <p:sp>
        <p:nvSpPr>
          <p:cNvPr id="3" name="Title 2">
            <a:extLst>
              <a:ext uri="{FF2B5EF4-FFF2-40B4-BE49-F238E27FC236}">
                <a16:creationId xmlns:a16="http://schemas.microsoft.com/office/drawing/2014/main" id="{3FEE4060-DA2F-8145-9906-42A06E38DE59}"/>
              </a:ext>
            </a:extLst>
          </p:cNvPr>
          <p:cNvSpPr>
            <a:spLocks noGrp="1"/>
          </p:cNvSpPr>
          <p:nvPr>
            <p:ph type="title"/>
          </p:nvPr>
        </p:nvSpPr>
        <p:spPr>
          <a:xfrm>
            <a:off x="421532" y="607671"/>
            <a:ext cx="3796507" cy="1673187"/>
          </a:xfrm>
        </p:spPr>
        <p:txBody>
          <a:bodyPr/>
          <a:lstStyle>
            <a:lvl1pPr>
              <a:defRPr>
                <a:solidFill>
                  <a:srgbClr val="649A3D"/>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6300B4F3-C1AA-854F-AC5A-08BCB6418796}"/>
              </a:ext>
            </a:extLst>
          </p:cNvPr>
          <p:cNvSpPr>
            <a:spLocks noGrp="1"/>
          </p:cNvSpPr>
          <p:nvPr>
            <p:ph type="ftr" sz="quarter" idx="10"/>
          </p:nvPr>
        </p:nvSpPr>
        <p:spPr/>
        <p:txBody>
          <a:bodyPr/>
          <a:lstStyle/>
          <a:p>
            <a:endParaRPr lang="en-US"/>
          </a:p>
        </p:txBody>
      </p:sp>
      <p:sp>
        <p:nvSpPr>
          <p:cNvPr id="16" name="Content Placeholder 15">
            <a:extLst>
              <a:ext uri="{FF2B5EF4-FFF2-40B4-BE49-F238E27FC236}">
                <a16:creationId xmlns:a16="http://schemas.microsoft.com/office/drawing/2014/main" id="{30EFAC12-2827-6848-8EF6-DD24793FABE4}"/>
              </a:ext>
            </a:extLst>
          </p:cNvPr>
          <p:cNvSpPr>
            <a:spLocks noGrp="1"/>
          </p:cNvSpPr>
          <p:nvPr>
            <p:ph sz="quarter" idx="18"/>
          </p:nvPr>
        </p:nvSpPr>
        <p:spPr>
          <a:xfrm>
            <a:off x="421531" y="2617303"/>
            <a:ext cx="3796507" cy="3750366"/>
          </a:xfrm>
        </p:spPr>
        <p:txBody>
          <a:bodyPr/>
          <a:lstStyle>
            <a:lvl1pPr>
              <a:buClr>
                <a:srgbClr val="649A3D"/>
              </a:buClr>
              <a:defRPr>
                <a:solidFill>
                  <a:schemeClr val="bg1"/>
                </a:solidFill>
              </a:defRPr>
            </a:lvl1pPr>
            <a:lvl2pPr>
              <a:buClr>
                <a:srgbClr val="649A3D"/>
              </a:buClr>
              <a:defRPr>
                <a:solidFill>
                  <a:schemeClr val="bg1"/>
                </a:solidFill>
              </a:defRPr>
            </a:lvl2pPr>
            <a:lvl3pPr>
              <a:buClr>
                <a:srgbClr val="649A3D"/>
              </a:buClr>
              <a:defRPr>
                <a:solidFill>
                  <a:schemeClr val="bg1"/>
                </a:solidFill>
              </a:defRPr>
            </a:lvl3pPr>
            <a:lvl4pPr>
              <a:buClr>
                <a:srgbClr val="649A3D"/>
              </a:buClr>
              <a:defRPr>
                <a:solidFill>
                  <a:schemeClr val="bg1"/>
                </a:solidFill>
              </a:defRPr>
            </a:lvl4pPr>
            <a:lvl5pPr>
              <a:buClr>
                <a:srgbClr val="649A3D"/>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hart Placeholder 21">
            <a:extLst>
              <a:ext uri="{FF2B5EF4-FFF2-40B4-BE49-F238E27FC236}">
                <a16:creationId xmlns:a16="http://schemas.microsoft.com/office/drawing/2014/main" id="{4C0B4C3F-2A81-1A4F-89B2-A615AECAF4D3}"/>
              </a:ext>
            </a:extLst>
          </p:cNvPr>
          <p:cNvSpPr>
            <a:spLocks noGrp="1"/>
          </p:cNvSpPr>
          <p:nvPr>
            <p:ph type="chart" sz="quarter" idx="19"/>
          </p:nvPr>
        </p:nvSpPr>
        <p:spPr>
          <a:xfrm>
            <a:off x="5173663" y="607672"/>
            <a:ext cx="6562725" cy="5759998"/>
          </a:xfrm>
        </p:spPr>
        <p:txBody>
          <a:bodyPr/>
          <a:lstStyle/>
          <a:p>
            <a:r>
              <a:rPr lang="en-US"/>
              <a:t>Click icon to add chart</a:t>
            </a:r>
          </a:p>
        </p:txBody>
      </p:sp>
    </p:spTree>
    <p:extLst>
      <p:ext uri="{BB962C8B-B14F-4D97-AF65-F5344CB8AC3E}">
        <p14:creationId xmlns:p14="http://schemas.microsoft.com/office/powerpoint/2010/main" val="38432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lide - Chart w/Left Sidebar #2">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E19E6EEC-E1A5-4B4F-96FE-94C5845BD9B0}"/>
              </a:ext>
            </a:extLst>
          </p:cNvPr>
          <p:cNvCxnSpPr>
            <a:cxnSpLocks/>
          </p:cNvCxnSpPr>
          <p:nvPr userDrawn="1"/>
        </p:nvCxnSpPr>
        <p:spPr>
          <a:xfrm>
            <a:off x="4500880" y="355600"/>
            <a:ext cx="0" cy="5876587"/>
          </a:xfrm>
          <a:prstGeom prst="line">
            <a:avLst/>
          </a:prstGeom>
          <a:ln w="50800" cap="flat" cmpd="sng">
            <a:solidFill>
              <a:srgbClr val="649A3D"/>
            </a:solidFill>
            <a:prstDash val="solid"/>
          </a:ln>
        </p:spPr>
        <p:style>
          <a:lnRef idx="1">
            <a:schemeClr val="accent1"/>
          </a:lnRef>
          <a:fillRef idx="0">
            <a:schemeClr val="accent1"/>
          </a:fillRef>
          <a:effectRef idx="0">
            <a:schemeClr val="accent1"/>
          </a:effectRef>
          <a:fontRef idx="minor">
            <a:schemeClr val="tx1"/>
          </a:fontRef>
        </p:style>
      </p:cxnSp>
      <p:sp>
        <p:nvSpPr>
          <p:cNvPr id="11" name="Title 14">
            <a:extLst>
              <a:ext uri="{FF2B5EF4-FFF2-40B4-BE49-F238E27FC236}">
                <a16:creationId xmlns:a16="http://schemas.microsoft.com/office/drawing/2014/main" id="{35907311-02E3-3743-AA22-B5F79B2217D3}"/>
              </a:ext>
            </a:extLst>
          </p:cNvPr>
          <p:cNvSpPr>
            <a:spLocks noGrp="1"/>
          </p:cNvSpPr>
          <p:nvPr>
            <p:ph type="title"/>
          </p:nvPr>
        </p:nvSpPr>
        <p:spPr>
          <a:xfrm>
            <a:off x="421532" y="295156"/>
            <a:ext cx="3670565" cy="1599906"/>
          </a:xfrm>
        </p:spPr>
        <p:txBody>
          <a:bodyPr anchor="b" anchorCtr="0"/>
          <a:lstStyle/>
          <a:p>
            <a:r>
              <a:rPr lang="en-US"/>
              <a:t>Click to edit Master title style</a:t>
            </a:r>
          </a:p>
        </p:txBody>
      </p:sp>
      <p:sp>
        <p:nvSpPr>
          <p:cNvPr id="3" name="Footer Placeholder 2">
            <a:extLst>
              <a:ext uri="{FF2B5EF4-FFF2-40B4-BE49-F238E27FC236}">
                <a16:creationId xmlns:a16="http://schemas.microsoft.com/office/drawing/2014/main" id="{0D75A2C0-7676-DE46-8670-4A4860C93258}"/>
              </a:ext>
            </a:extLst>
          </p:cNvPr>
          <p:cNvSpPr>
            <a:spLocks noGrp="1"/>
          </p:cNvSpPr>
          <p:nvPr>
            <p:ph type="ftr" sz="quarter" idx="10"/>
          </p:nvPr>
        </p:nvSpPr>
        <p:spPr/>
        <p:txBody>
          <a:bodyPr/>
          <a:lstStyle/>
          <a:p>
            <a:endParaRPr lang="en-US"/>
          </a:p>
        </p:txBody>
      </p:sp>
      <p:sp>
        <p:nvSpPr>
          <p:cNvPr id="13" name="Content Placeholder 12">
            <a:extLst>
              <a:ext uri="{FF2B5EF4-FFF2-40B4-BE49-F238E27FC236}">
                <a16:creationId xmlns:a16="http://schemas.microsoft.com/office/drawing/2014/main" id="{297B5DA1-E7A4-E942-85D0-BA1B63A84E91}"/>
              </a:ext>
            </a:extLst>
          </p:cNvPr>
          <p:cNvSpPr>
            <a:spLocks noGrp="1"/>
          </p:cNvSpPr>
          <p:nvPr>
            <p:ph sz="quarter" idx="12"/>
          </p:nvPr>
        </p:nvSpPr>
        <p:spPr>
          <a:xfrm>
            <a:off x="421531" y="2166730"/>
            <a:ext cx="3670557" cy="40654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hart Placeholder 21">
            <a:extLst>
              <a:ext uri="{FF2B5EF4-FFF2-40B4-BE49-F238E27FC236}">
                <a16:creationId xmlns:a16="http://schemas.microsoft.com/office/drawing/2014/main" id="{D0527404-BAF0-5B46-954C-C3C181BE0EAF}"/>
              </a:ext>
            </a:extLst>
          </p:cNvPr>
          <p:cNvSpPr>
            <a:spLocks noGrp="1"/>
          </p:cNvSpPr>
          <p:nvPr>
            <p:ph type="chart" sz="quarter" idx="19"/>
          </p:nvPr>
        </p:nvSpPr>
        <p:spPr>
          <a:xfrm>
            <a:off x="5173663" y="413894"/>
            <a:ext cx="6562725" cy="5759998"/>
          </a:xfrm>
        </p:spPr>
        <p:txBody>
          <a:bodyPr/>
          <a:lstStyle/>
          <a:p>
            <a:r>
              <a:rPr lang="en-US"/>
              <a:t>Click icon to add chart</a:t>
            </a:r>
          </a:p>
        </p:txBody>
      </p:sp>
    </p:spTree>
    <p:extLst>
      <p:ext uri="{BB962C8B-B14F-4D97-AF65-F5344CB8AC3E}">
        <p14:creationId xmlns:p14="http://schemas.microsoft.com/office/powerpoint/2010/main" val="4117426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lide - Right Sideba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B91EB1F-53CE-F742-8A34-17357C74665D}"/>
              </a:ext>
            </a:extLst>
          </p:cNvPr>
          <p:cNvSpPr/>
          <p:nvPr userDrawn="1"/>
        </p:nvSpPr>
        <p:spPr>
          <a:xfrm>
            <a:off x="7478712" y="0"/>
            <a:ext cx="4713288" cy="6858000"/>
          </a:xfrm>
          <a:prstGeom prst="rect">
            <a:avLst/>
          </a:prstGeom>
          <a:solidFill>
            <a:srgbClr val="2A2A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6" name="Straight Connector 5">
            <a:extLst>
              <a:ext uri="{FF2B5EF4-FFF2-40B4-BE49-F238E27FC236}">
                <a16:creationId xmlns:a16="http://schemas.microsoft.com/office/drawing/2014/main" id="{B00A625D-2365-F346-90AB-91300491E991}"/>
              </a:ext>
            </a:extLst>
          </p:cNvPr>
          <p:cNvCxnSpPr>
            <a:cxnSpLocks/>
          </p:cNvCxnSpPr>
          <p:nvPr userDrawn="1"/>
        </p:nvCxnSpPr>
        <p:spPr>
          <a:xfrm>
            <a:off x="515073" y="1249680"/>
            <a:ext cx="6963639" cy="0"/>
          </a:xfrm>
          <a:prstGeom prst="line">
            <a:avLst/>
          </a:prstGeom>
          <a:ln w="50800" cap="flat" cmpd="sng">
            <a:solidFill>
              <a:srgbClr val="649A3D"/>
            </a:solidFill>
            <a:prstDash val="solid"/>
            <a:bevel/>
          </a:ln>
        </p:spPr>
        <p:style>
          <a:lnRef idx="1">
            <a:schemeClr val="accent1"/>
          </a:lnRef>
          <a:fillRef idx="0">
            <a:schemeClr val="accent1"/>
          </a:fillRef>
          <a:effectRef idx="0">
            <a:schemeClr val="accent1"/>
          </a:effectRef>
          <a:fontRef idx="minor">
            <a:schemeClr val="tx1"/>
          </a:fontRef>
        </p:style>
      </p:cxnSp>
      <p:sp>
        <p:nvSpPr>
          <p:cNvPr id="17" name="Footer Placeholder 16">
            <a:extLst>
              <a:ext uri="{FF2B5EF4-FFF2-40B4-BE49-F238E27FC236}">
                <a16:creationId xmlns:a16="http://schemas.microsoft.com/office/drawing/2014/main" id="{319BD944-D9B7-8741-BE88-B4D10CA51DE1}"/>
              </a:ext>
            </a:extLst>
          </p:cNvPr>
          <p:cNvSpPr>
            <a:spLocks noGrp="1"/>
          </p:cNvSpPr>
          <p:nvPr>
            <p:ph type="ftr" sz="quarter" idx="10"/>
          </p:nvPr>
        </p:nvSpPr>
        <p:spPr/>
        <p:txBody>
          <a:bodyPr/>
          <a:lstStyle/>
          <a:p>
            <a:endParaRPr lang="en-US"/>
          </a:p>
        </p:txBody>
      </p:sp>
      <p:sp>
        <p:nvSpPr>
          <p:cNvPr id="2" name="Title 1">
            <a:extLst>
              <a:ext uri="{FF2B5EF4-FFF2-40B4-BE49-F238E27FC236}">
                <a16:creationId xmlns:a16="http://schemas.microsoft.com/office/drawing/2014/main" id="{EBF8D85B-2C7A-DE4B-9B15-13E307DDECA7}"/>
              </a:ext>
            </a:extLst>
          </p:cNvPr>
          <p:cNvSpPr>
            <a:spLocks noGrp="1"/>
          </p:cNvSpPr>
          <p:nvPr>
            <p:ph type="title"/>
          </p:nvPr>
        </p:nvSpPr>
        <p:spPr>
          <a:xfrm>
            <a:off x="421532" y="295156"/>
            <a:ext cx="6687191" cy="897038"/>
          </a:xfrm>
        </p:spPr>
        <p:txBody>
          <a:bodyPr/>
          <a:lstStyle/>
          <a:p>
            <a:r>
              <a:rPr lang="en-US"/>
              <a:t>Click to edit Master title style</a:t>
            </a:r>
          </a:p>
        </p:txBody>
      </p:sp>
      <p:sp>
        <p:nvSpPr>
          <p:cNvPr id="10" name="TextBox 11">
            <a:extLst>
              <a:ext uri="{FF2B5EF4-FFF2-40B4-BE49-F238E27FC236}">
                <a16:creationId xmlns:a16="http://schemas.microsoft.com/office/drawing/2014/main" id="{C592ADB5-B38F-8144-B877-C6EE4BD460E4}"/>
              </a:ext>
            </a:extLst>
          </p:cNvPr>
          <p:cNvSpPr txBox="1">
            <a:spLocks noChangeArrowheads="1"/>
          </p:cNvSpPr>
          <p:nvPr userDrawn="1"/>
        </p:nvSpPr>
        <p:spPr bwMode="auto">
          <a:xfrm>
            <a:off x="11111468" y="6584250"/>
            <a:ext cx="96212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r>
              <a:rPr lang="en-US" altLang="en-US" sz="700">
                <a:solidFill>
                  <a:srgbClr val="649A3D"/>
                </a:solidFill>
                <a:latin typeface="Arial" panose="020B0604020202020204" pitchFamily="34" charset="0"/>
                <a:ea typeface="Segoe UI Historic" panose="020B0502040204020203" pitchFamily="34" charset="0"/>
                <a:cs typeface="Arial" panose="020B0604020202020204" pitchFamily="34" charset="0"/>
              </a:rPr>
              <a:t>|</a:t>
            </a:r>
            <a:r>
              <a:rPr lang="en-US" altLang="en-US" sz="700">
                <a:solidFill>
                  <a:srgbClr val="AAAAAA"/>
                </a:solidFill>
                <a:latin typeface="Arial" panose="020B0604020202020204" pitchFamily="34" charset="0"/>
                <a:ea typeface="Segoe UI Historic" panose="020B0502040204020203" pitchFamily="34" charset="0"/>
                <a:cs typeface="Arial" panose="020B0604020202020204" pitchFamily="34" charset="0"/>
              </a:rPr>
              <a:t>    © Digital.ai.2020</a:t>
            </a:r>
          </a:p>
        </p:txBody>
      </p:sp>
      <p:sp>
        <p:nvSpPr>
          <p:cNvPr id="7" name="Content Placeholder 6">
            <a:extLst>
              <a:ext uri="{FF2B5EF4-FFF2-40B4-BE49-F238E27FC236}">
                <a16:creationId xmlns:a16="http://schemas.microsoft.com/office/drawing/2014/main" id="{D422A3B0-C7D3-9B40-8BBE-86A724C3B208}"/>
              </a:ext>
            </a:extLst>
          </p:cNvPr>
          <p:cNvSpPr>
            <a:spLocks noGrp="1"/>
          </p:cNvSpPr>
          <p:nvPr>
            <p:ph sz="quarter" idx="13"/>
          </p:nvPr>
        </p:nvSpPr>
        <p:spPr>
          <a:xfrm>
            <a:off x="416488" y="1453024"/>
            <a:ext cx="6687191" cy="47622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964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lide - Full Media">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4B3340C-4D54-214A-B198-2DB8D02A63F3}"/>
              </a:ext>
            </a:extLst>
          </p:cNvPr>
          <p:cNvSpPr/>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Media Placeholder 7">
            <a:extLst>
              <a:ext uri="{FF2B5EF4-FFF2-40B4-BE49-F238E27FC236}">
                <a16:creationId xmlns:a16="http://schemas.microsoft.com/office/drawing/2014/main" id="{EE107A3B-0CAB-AD4A-8440-0A17C2224957}"/>
              </a:ext>
            </a:extLst>
          </p:cNvPr>
          <p:cNvSpPr>
            <a:spLocks noGrp="1"/>
          </p:cNvSpPr>
          <p:nvPr>
            <p:ph type="media" sz="quarter" idx="11" hasCustomPrompt="1"/>
          </p:nvPr>
        </p:nvSpPr>
        <p:spPr>
          <a:xfrm>
            <a:off x="0" y="6450"/>
            <a:ext cx="12192000" cy="6858000"/>
          </a:xfrm>
          <a:prstGeom prst="rect">
            <a:avLst/>
          </a:prstGeom>
        </p:spPr>
        <p:txBody>
          <a:bodyPr/>
          <a:lstStyle>
            <a:lvl1pPr>
              <a:defRPr>
                <a:solidFill>
                  <a:schemeClr val="bg1"/>
                </a:solidFill>
              </a:defRPr>
            </a:lvl1pPr>
          </a:lstStyle>
          <a:p>
            <a:r>
              <a:rPr lang="en-US"/>
              <a:t>Insert video</a:t>
            </a:r>
          </a:p>
        </p:txBody>
      </p:sp>
    </p:spTree>
    <p:extLst>
      <p:ext uri="{BB962C8B-B14F-4D97-AF65-F5344CB8AC3E}">
        <p14:creationId xmlns:p14="http://schemas.microsoft.com/office/powerpoint/2010/main" val="3787394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lide - Blank #1">
    <p:spTree>
      <p:nvGrpSpPr>
        <p:cNvPr id="1" name=""/>
        <p:cNvGrpSpPr/>
        <p:nvPr/>
      </p:nvGrpSpPr>
      <p:grpSpPr>
        <a:xfrm>
          <a:off x="0" y="0"/>
          <a:ext cx="0" cy="0"/>
          <a:chOff x="0" y="0"/>
          <a:chExt cx="0" cy="0"/>
        </a:xfrm>
      </p:grpSpPr>
      <p:sp>
        <p:nvSpPr>
          <p:cNvPr id="6" name="TextBox 11">
            <a:extLst>
              <a:ext uri="{FF2B5EF4-FFF2-40B4-BE49-F238E27FC236}">
                <a16:creationId xmlns:a16="http://schemas.microsoft.com/office/drawing/2014/main" id="{5EB70C11-09D5-394B-A9F6-AD4E69622F74}"/>
              </a:ext>
            </a:extLst>
          </p:cNvPr>
          <p:cNvSpPr txBox="1">
            <a:spLocks noChangeArrowheads="1"/>
          </p:cNvSpPr>
          <p:nvPr/>
        </p:nvSpPr>
        <p:spPr bwMode="auto">
          <a:xfrm>
            <a:off x="11463655" y="7376160"/>
            <a:ext cx="87947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800">
                <a:solidFill>
                  <a:srgbClr val="7F7F7F"/>
                </a:solidFill>
                <a:latin typeface="Calibri Light" panose="020F0302020204030204" pitchFamily="34" charset="0"/>
              </a:rPr>
              <a:t>© Digital.ai.2020</a:t>
            </a:r>
          </a:p>
        </p:txBody>
      </p:sp>
      <p:sp>
        <p:nvSpPr>
          <p:cNvPr id="2" name="Footer Placeholder 1">
            <a:extLst>
              <a:ext uri="{FF2B5EF4-FFF2-40B4-BE49-F238E27FC236}">
                <a16:creationId xmlns:a16="http://schemas.microsoft.com/office/drawing/2014/main" id="{8F775EFB-EA43-B742-8ACA-83ECCAA010DF}"/>
              </a:ext>
            </a:extLst>
          </p:cNvPr>
          <p:cNvSpPr>
            <a:spLocks noGrp="1"/>
          </p:cNvSpPr>
          <p:nvPr>
            <p:ph type="ftr" sz="quarter" idx="10"/>
          </p:nvPr>
        </p:nvSpPr>
        <p:spPr/>
        <p:txBody>
          <a:bodyPr/>
          <a:lstStyle/>
          <a:p>
            <a:endParaRPr lang="en-US"/>
          </a:p>
        </p:txBody>
      </p:sp>
      <p:cxnSp>
        <p:nvCxnSpPr>
          <p:cNvPr id="5" name="Straight Connector 4">
            <a:extLst>
              <a:ext uri="{FF2B5EF4-FFF2-40B4-BE49-F238E27FC236}">
                <a16:creationId xmlns:a16="http://schemas.microsoft.com/office/drawing/2014/main" id="{AF52F8DB-0ECB-E140-B897-99DF5C1B91E5}"/>
              </a:ext>
            </a:extLst>
          </p:cNvPr>
          <p:cNvCxnSpPr>
            <a:cxnSpLocks/>
          </p:cNvCxnSpPr>
          <p:nvPr userDrawn="1"/>
        </p:nvCxnSpPr>
        <p:spPr>
          <a:xfrm>
            <a:off x="0" y="17697"/>
            <a:ext cx="12192000" cy="0"/>
          </a:xfrm>
          <a:prstGeom prst="line">
            <a:avLst/>
          </a:prstGeom>
          <a:ln w="50800" cap="flat" cmpd="sng">
            <a:solidFill>
              <a:srgbClr val="649A3D"/>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754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lide - Blank #2">
    <p:spTree>
      <p:nvGrpSpPr>
        <p:cNvPr id="1" name=""/>
        <p:cNvGrpSpPr/>
        <p:nvPr/>
      </p:nvGrpSpPr>
      <p:grpSpPr>
        <a:xfrm>
          <a:off x="0" y="0"/>
          <a:ext cx="0" cy="0"/>
          <a:chOff x="0" y="0"/>
          <a:chExt cx="0" cy="0"/>
        </a:xfrm>
      </p:grpSpPr>
      <p:sp>
        <p:nvSpPr>
          <p:cNvPr id="6" name="TextBox 11">
            <a:extLst>
              <a:ext uri="{FF2B5EF4-FFF2-40B4-BE49-F238E27FC236}">
                <a16:creationId xmlns:a16="http://schemas.microsoft.com/office/drawing/2014/main" id="{5EB70C11-09D5-394B-A9F6-AD4E69622F74}"/>
              </a:ext>
            </a:extLst>
          </p:cNvPr>
          <p:cNvSpPr txBox="1">
            <a:spLocks noChangeArrowheads="1"/>
          </p:cNvSpPr>
          <p:nvPr/>
        </p:nvSpPr>
        <p:spPr bwMode="auto">
          <a:xfrm>
            <a:off x="11463655" y="7376160"/>
            <a:ext cx="87947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800">
                <a:solidFill>
                  <a:srgbClr val="7F7F7F"/>
                </a:solidFill>
                <a:latin typeface="Calibri Light" panose="020F0302020204030204" pitchFamily="34" charset="0"/>
              </a:rPr>
              <a:t>© Digital.ai.2020</a:t>
            </a:r>
          </a:p>
        </p:txBody>
      </p:sp>
      <p:sp>
        <p:nvSpPr>
          <p:cNvPr id="2" name="Footer Placeholder 1">
            <a:extLst>
              <a:ext uri="{FF2B5EF4-FFF2-40B4-BE49-F238E27FC236}">
                <a16:creationId xmlns:a16="http://schemas.microsoft.com/office/drawing/2014/main" id="{8F775EFB-EA43-B742-8ACA-83ECCAA010DF}"/>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08374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lank #3">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683070A-8253-6E42-B647-69A26B9BA424}"/>
              </a:ext>
            </a:extLst>
          </p:cNvPr>
          <p:cNvSpPr>
            <a:spLocks noGrp="1"/>
          </p:cNvSpPr>
          <p:nvPr>
            <p:ph type="ftr" sz="quarter" idx="10"/>
          </p:nvPr>
        </p:nvSpPr>
        <p:spPr/>
        <p:txBody>
          <a:bodyPr/>
          <a:lstStyle/>
          <a:p>
            <a:endParaRPr lang="en-US"/>
          </a:p>
        </p:txBody>
      </p:sp>
      <p:sp>
        <p:nvSpPr>
          <p:cNvPr id="4" name="TextBox 11">
            <a:extLst>
              <a:ext uri="{FF2B5EF4-FFF2-40B4-BE49-F238E27FC236}">
                <a16:creationId xmlns:a16="http://schemas.microsoft.com/office/drawing/2014/main" id="{597EC691-DEB3-3F44-8CE2-FFE9718F5B55}"/>
              </a:ext>
            </a:extLst>
          </p:cNvPr>
          <p:cNvSpPr txBox="1">
            <a:spLocks noChangeArrowheads="1"/>
          </p:cNvSpPr>
          <p:nvPr userDrawn="1"/>
        </p:nvSpPr>
        <p:spPr bwMode="auto">
          <a:xfrm>
            <a:off x="11111468" y="6584250"/>
            <a:ext cx="96212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r>
              <a:rPr lang="en-US" altLang="en-US" sz="700">
                <a:solidFill>
                  <a:srgbClr val="649A3D"/>
                </a:solidFill>
                <a:latin typeface="Arial" panose="020B0604020202020204" pitchFamily="34" charset="0"/>
                <a:ea typeface="Segoe UI Historic" panose="020B0502040204020203" pitchFamily="34" charset="0"/>
                <a:cs typeface="Arial" panose="020B0604020202020204" pitchFamily="34" charset="0"/>
              </a:rPr>
              <a:t>|</a:t>
            </a:r>
            <a:r>
              <a:rPr lang="en-US" altLang="en-US" sz="700">
                <a:solidFill>
                  <a:srgbClr val="AAAAAA"/>
                </a:solidFill>
                <a:latin typeface="Arial" panose="020B0604020202020204" pitchFamily="34" charset="0"/>
                <a:ea typeface="Segoe UI Historic" panose="020B0502040204020203" pitchFamily="34" charset="0"/>
                <a:cs typeface="Arial" panose="020B0604020202020204" pitchFamily="34" charset="0"/>
              </a:rPr>
              <a:t>    © Digital.ai.2020</a:t>
            </a:r>
          </a:p>
        </p:txBody>
      </p:sp>
    </p:spTree>
    <p:extLst>
      <p:ext uri="{BB962C8B-B14F-4D97-AF65-F5344CB8AC3E}">
        <p14:creationId xmlns:p14="http://schemas.microsoft.com/office/powerpoint/2010/main" val="1284236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685674A-A25F-884A-ABCB-EAE77D0EAB2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2BDAE207-4723-EF44-8D7D-E94371F31C85}"/>
              </a:ext>
            </a:extLst>
          </p:cNvPr>
          <p:cNvSpPr>
            <a:spLocks noGrp="1"/>
          </p:cNvSpPr>
          <p:nvPr>
            <p:ph type="ctrTitle" hasCustomPrompt="1"/>
          </p:nvPr>
        </p:nvSpPr>
        <p:spPr>
          <a:xfrm>
            <a:off x="934153" y="3147415"/>
            <a:ext cx="9369282" cy="1006475"/>
          </a:xfrm>
          <a:prstGeom prst="rect">
            <a:avLst/>
          </a:prstGeom>
        </p:spPr>
        <p:txBody>
          <a:bodyPr anchor="t" anchorCtr="0">
            <a:noAutofit/>
          </a:bodyPr>
          <a:lstStyle>
            <a:lvl1pPr algn="l">
              <a:defRPr sz="3600">
                <a:solidFill>
                  <a:schemeClr val="bg1">
                    <a:lumMod val="95000"/>
                  </a:schemeClr>
                </a:solidFill>
              </a:defRPr>
            </a:lvl1pPr>
          </a:lstStyle>
          <a:p>
            <a:r>
              <a:rPr lang="en-US"/>
              <a:t>Thank you style</a:t>
            </a:r>
          </a:p>
        </p:txBody>
      </p:sp>
      <p:pic>
        <p:nvPicPr>
          <p:cNvPr id="7" name="Picture 6">
            <a:extLst>
              <a:ext uri="{FF2B5EF4-FFF2-40B4-BE49-F238E27FC236}">
                <a16:creationId xmlns:a16="http://schemas.microsoft.com/office/drawing/2014/main" id="{8C1A6EC9-D2C1-804F-81AB-E5132D1AC30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06338" y="1710346"/>
            <a:ext cx="4628677" cy="1490414"/>
          </a:xfrm>
          <a:prstGeom prst="rect">
            <a:avLst/>
          </a:prstGeom>
        </p:spPr>
      </p:pic>
      <p:sp>
        <p:nvSpPr>
          <p:cNvPr id="3" name="Text Placeholder 2">
            <a:extLst>
              <a:ext uri="{FF2B5EF4-FFF2-40B4-BE49-F238E27FC236}">
                <a16:creationId xmlns:a16="http://schemas.microsoft.com/office/drawing/2014/main" id="{CB756E10-9E18-7B45-A758-7516674DFBEE}"/>
              </a:ext>
            </a:extLst>
          </p:cNvPr>
          <p:cNvSpPr>
            <a:spLocks noGrp="1"/>
          </p:cNvSpPr>
          <p:nvPr>
            <p:ph type="body" sz="quarter" idx="10"/>
          </p:nvPr>
        </p:nvSpPr>
        <p:spPr>
          <a:xfrm>
            <a:off x="934152" y="4863548"/>
            <a:ext cx="6130035" cy="588962"/>
          </a:xfrm>
        </p:spPr>
        <p:txBody>
          <a:bodyPr/>
          <a:lstStyle>
            <a:lvl1pPr marL="0" indent="0">
              <a:buNone/>
              <a:defRPr sz="2400" b="1">
                <a:solidFill>
                  <a:schemeClr val="accent2"/>
                </a:solidFill>
              </a:defRPr>
            </a:lvl1pPr>
            <a:lvl2pPr marL="346075" indent="0">
              <a:buNone/>
              <a:defRPr>
                <a:solidFill>
                  <a:schemeClr val="accent4"/>
                </a:solidFill>
              </a:defRPr>
            </a:lvl2pPr>
            <a:lvl3pPr marL="628650" indent="0">
              <a:buNone/>
              <a:defRPr>
                <a:solidFill>
                  <a:schemeClr val="accent4"/>
                </a:solidFill>
              </a:defRPr>
            </a:lvl3pPr>
            <a:lvl4pPr marL="857250" indent="0">
              <a:buNone/>
              <a:defRPr>
                <a:solidFill>
                  <a:schemeClr val="accent4"/>
                </a:solidFill>
              </a:defRPr>
            </a:lvl4pPr>
            <a:lvl5pPr marL="1150938" indent="0">
              <a:buNone/>
              <a:defRPr>
                <a:solidFill>
                  <a:schemeClr val="accent4"/>
                </a:solidFill>
              </a:defRPr>
            </a:lvl5pPr>
          </a:lstStyle>
          <a:p>
            <a:pPr lvl="0"/>
            <a:r>
              <a:rPr lang="en-US"/>
              <a:t>Click to edit Master text styles</a:t>
            </a:r>
          </a:p>
        </p:txBody>
      </p:sp>
    </p:spTree>
    <p:extLst>
      <p:ext uri="{BB962C8B-B14F-4D97-AF65-F5344CB8AC3E}">
        <p14:creationId xmlns:p14="http://schemas.microsoft.com/office/powerpoint/2010/main" val="1292351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861C9BE-134D-B947-9478-4ABA86BFCB98}"/>
              </a:ext>
            </a:extLst>
          </p:cNvPr>
          <p:cNvSpPr>
            <a:spLocks noGrp="1"/>
          </p:cNvSpPr>
          <p:nvPr>
            <p:ph type="sldNum" sz="quarter" idx="10"/>
          </p:nvPr>
        </p:nvSpPr>
        <p:spPr>
          <a:xfrm>
            <a:off x="233363" y="6350000"/>
            <a:ext cx="11774487" cy="365125"/>
          </a:xfrm>
          <a:prstGeom prst="rect">
            <a:avLst/>
          </a:prstGeom>
        </p:spPr>
        <p:txBody>
          <a:bodyPr/>
          <a:lstStyle>
            <a:lvl1pPr algn="r">
              <a:defRPr>
                <a:solidFill>
                  <a:schemeClr val="bg1">
                    <a:lumMod val="65000"/>
                  </a:schemeClr>
                </a:solidFill>
              </a:defRPr>
            </a:lvl1pPr>
          </a:lstStyle>
          <a:p>
            <a:fld id="{10DDF61E-F7E6-458E-BD81-80F1329AD0A6}" type="slidenum">
              <a:rPr lang="en-US" smtClean="0"/>
              <a:t>‹#›</a:t>
            </a:fld>
            <a:endParaRPr lang="en-US"/>
          </a:p>
        </p:txBody>
      </p:sp>
      <p:sp>
        <p:nvSpPr>
          <p:cNvPr id="9" name="Picture Placeholder 8">
            <a:extLst>
              <a:ext uri="{FF2B5EF4-FFF2-40B4-BE49-F238E27FC236}">
                <a16:creationId xmlns:a16="http://schemas.microsoft.com/office/drawing/2014/main" id="{B0F13BA3-EB1F-2741-8389-FD7B03D06051}"/>
              </a:ext>
            </a:extLst>
          </p:cNvPr>
          <p:cNvSpPr>
            <a:spLocks noGrp="1"/>
          </p:cNvSpPr>
          <p:nvPr>
            <p:ph type="pic" sz="quarter" idx="11"/>
          </p:nvPr>
        </p:nvSpPr>
        <p:spPr>
          <a:xfrm>
            <a:off x="0" y="0"/>
            <a:ext cx="4724400" cy="6116320"/>
          </a:xfrm>
          <a:prstGeom prst="rect">
            <a:avLst/>
          </a:prstGeom>
        </p:spPr>
        <p:txBody>
          <a:bodyPr/>
          <a:lstStyle/>
          <a:p>
            <a:r>
              <a:rPr lang="en-US"/>
              <a:t>Click icon to add picture</a:t>
            </a:r>
          </a:p>
        </p:txBody>
      </p:sp>
      <p:sp>
        <p:nvSpPr>
          <p:cNvPr id="6" name="Content Placeholder 2">
            <a:extLst>
              <a:ext uri="{FF2B5EF4-FFF2-40B4-BE49-F238E27FC236}">
                <a16:creationId xmlns:a16="http://schemas.microsoft.com/office/drawing/2014/main" id="{6D85EEEE-5D89-814E-9E2C-AAFB6AADB28E}"/>
              </a:ext>
            </a:extLst>
          </p:cNvPr>
          <p:cNvSpPr>
            <a:spLocks noGrp="1"/>
          </p:cNvSpPr>
          <p:nvPr>
            <p:ph idx="1"/>
          </p:nvPr>
        </p:nvSpPr>
        <p:spPr>
          <a:xfrm>
            <a:off x="5054600" y="1087438"/>
            <a:ext cx="6568440" cy="4351337"/>
          </a:xfrm>
          <a:prstGeom prst="rect">
            <a:avLst/>
          </a:prstGeom>
        </p:spPr>
        <p:txBody>
          <a:bodyPr/>
          <a:lstStyle>
            <a:lvl1pPr marL="228600" indent="-228600">
              <a:spcBef>
                <a:spcPts val="600"/>
              </a:spcBef>
              <a:spcAft>
                <a:spcPts val="0"/>
              </a:spcAft>
              <a:buFontTx/>
              <a:buBlip>
                <a:blip r:embed="rId2"/>
              </a:buBlip>
              <a:defRPr/>
            </a:lvl1pPr>
            <a:lvl2pPr marL="685800" indent="-228600">
              <a:spcAft>
                <a:spcPts val="0"/>
              </a:spcAft>
              <a:buClr>
                <a:srgbClr val="96C13B"/>
              </a:buClr>
              <a:buFont typeface="Arial" panose="020B0604020202020204" pitchFamily="34" charset="0"/>
              <a:buChar char="•"/>
              <a:defRPr sz="2000"/>
            </a:lvl2pPr>
            <a:lvl3pPr marL="1200150" indent="-285750">
              <a:spcAft>
                <a:spcPts val="0"/>
              </a:spcAft>
              <a:buClr>
                <a:schemeClr val="tx1">
                  <a:lumMod val="50000"/>
                  <a:lumOff val="50000"/>
                </a:schemeClr>
              </a:buClr>
              <a:buFont typeface="Arial" panose="020B0604020202020204" pitchFamily="34" charset="0"/>
              <a:buChar char="•"/>
              <a:defRPr sz="1800"/>
            </a:lvl3pPr>
            <a:lvl4pPr marL="1600200" indent="-228600">
              <a:lnSpc>
                <a:spcPct val="100000"/>
              </a:lnSpc>
              <a:spcBef>
                <a:spcPts val="0"/>
              </a:spcBef>
              <a:buClr>
                <a:schemeClr val="bg1">
                  <a:lumMod val="65000"/>
                </a:schemeClr>
              </a:buClr>
              <a:buFont typeface="Arial" panose="020B0604020202020204" pitchFamily="34" charset="0"/>
              <a:buChar char="•"/>
              <a:defRPr sz="16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42337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Page + Subhea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Text Placeholder 3"/>
          <p:cNvSpPr>
            <a:spLocks noGrp="1"/>
          </p:cNvSpPr>
          <p:nvPr>
            <p:ph type="body" sz="quarter" idx="10" hasCustomPrompt="1"/>
          </p:nvPr>
        </p:nvSpPr>
        <p:spPr>
          <a:xfrm>
            <a:off x="288047" y="838200"/>
            <a:ext cx="11615905" cy="419100"/>
          </a:xfrm>
        </p:spPr>
        <p:txBody>
          <a:bodyPr anchor="t">
            <a:noAutofit/>
          </a:bodyPr>
          <a:lstStyle>
            <a:lvl1pPr marL="0" indent="0">
              <a:buNone/>
              <a:defRPr sz="1800" b="1">
                <a:solidFill>
                  <a:schemeClr val="accent2"/>
                </a:solidFill>
              </a:defRPr>
            </a:lvl1pPr>
          </a:lstStyle>
          <a:p>
            <a:pPr lvl="0"/>
            <a:r>
              <a:rPr lang="en-US"/>
              <a:t>Subtitle</a:t>
            </a:r>
          </a:p>
        </p:txBody>
      </p:sp>
    </p:spTree>
    <p:extLst>
      <p:ext uri="{BB962C8B-B14F-4D97-AF65-F5344CB8AC3E}">
        <p14:creationId xmlns:p14="http://schemas.microsoft.com/office/powerpoint/2010/main" val="36336001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 Header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BF1704B2-D267-E047-B442-8FBAB4313F9A}"/>
              </a:ext>
            </a:extLst>
          </p:cNvPr>
          <p:cNvSpPr>
            <a:spLocks noGrp="1"/>
          </p:cNvSpPr>
          <p:nvPr>
            <p:ph type="ftr" sz="quarter" idx="12"/>
          </p:nvPr>
        </p:nvSpPr>
        <p:spPr/>
        <p:txBody>
          <a:bodyPr/>
          <a:lstStyle/>
          <a:p>
            <a:endParaRPr lang="en-US"/>
          </a:p>
        </p:txBody>
      </p:sp>
      <p:cxnSp>
        <p:nvCxnSpPr>
          <p:cNvPr id="8" name="Straight Connector 7">
            <a:extLst>
              <a:ext uri="{FF2B5EF4-FFF2-40B4-BE49-F238E27FC236}">
                <a16:creationId xmlns:a16="http://schemas.microsoft.com/office/drawing/2014/main" id="{DC6041E2-049D-9940-8F3E-F4DC5CA585B2}"/>
              </a:ext>
            </a:extLst>
          </p:cNvPr>
          <p:cNvCxnSpPr>
            <a:cxnSpLocks/>
          </p:cNvCxnSpPr>
          <p:nvPr userDrawn="1"/>
        </p:nvCxnSpPr>
        <p:spPr>
          <a:xfrm>
            <a:off x="5106528" y="3305459"/>
            <a:ext cx="7085472" cy="0"/>
          </a:xfrm>
          <a:prstGeom prst="line">
            <a:avLst/>
          </a:prstGeom>
          <a:ln w="50800" cap="flat" cmpd="sng">
            <a:solidFill>
              <a:srgbClr val="649A3D"/>
            </a:solidFill>
            <a:prstDash val="soli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DE617AD-4598-EF4B-B0BE-75ACC7B0D4B5}"/>
              </a:ext>
            </a:extLst>
          </p:cNvPr>
          <p:cNvSpPr>
            <a:spLocks noGrp="1"/>
          </p:cNvSpPr>
          <p:nvPr>
            <p:ph type="title"/>
          </p:nvPr>
        </p:nvSpPr>
        <p:spPr>
          <a:xfrm>
            <a:off x="5106528" y="2348012"/>
            <a:ext cx="6861695" cy="897038"/>
          </a:xfrm>
        </p:spPr>
        <p:txBody>
          <a:bodyPr/>
          <a:lstStyle/>
          <a:p>
            <a:r>
              <a:rPr lang="en-US"/>
              <a:t>Click to edit Master title style</a:t>
            </a:r>
          </a:p>
        </p:txBody>
      </p:sp>
    </p:spTree>
    <p:extLst>
      <p:ext uri="{BB962C8B-B14F-4D97-AF65-F5344CB8AC3E}">
        <p14:creationId xmlns:p14="http://schemas.microsoft.com/office/powerpoint/2010/main" val="577703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7079" y="647120"/>
            <a:ext cx="10696575" cy="699240"/>
          </a:xfrm>
          <a:prstGeom prst="rect">
            <a:avLst/>
          </a:prstGeom>
        </p:spPr>
        <p:txBody>
          <a:bodyPr>
            <a:normAutofit/>
          </a:bodyPr>
          <a:lstStyle>
            <a:lvl1pPr>
              <a:defRPr sz="3600"/>
            </a:lvl1pPr>
          </a:lstStyle>
          <a:p>
            <a:r>
              <a:rPr lang="en-US"/>
              <a:t>Click to edit Master title style</a:t>
            </a:r>
          </a:p>
        </p:txBody>
      </p:sp>
      <p:sp>
        <p:nvSpPr>
          <p:cNvPr id="3" name="Content Placeholder 2"/>
          <p:cNvSpPr>
            <a:spLocks noGrp="1"/>
          </p:cNvSpPr>
          <p:nvPr>
            <p:ph idx="1"/>
          </p:nvPr>
        </p:nvSpPr>
        <p:spPr>
          <a:xfrm>
            <a:off x="767080" y="1443038"/>
            <a:ext cx="9728200" cy="4351337"/>
          </a:xfrm>
          <a:prstGeom prst="rect">
            <a:avLst/>
          </a:prstGeom>
        </p:spPr>
        <p:txBody>
          <a:bodyPr/>
          <a:lstStyle>
            <a:lvl1pPr marL="0" indent="0">
              <a:spcBef>
                <a:spcPts val="0"/>
              </a:spcBef>
              <a:spcAft>
                <a:spcPts val="1200"/>
              </a:spcAft>
              <a:buFontTx/>
              <a:buNone/>
              <a:defRPr/>
            </a:lvl1pPr>
            <a:lvl2pPr marL="685800" indent="-228600">
              <a:spcAft>
                <a:spcPts val="0"/>
              </a:spcAft>
              <a:buClr>
                <a:srgbClr val="96C13B"/>
              </a:buClr>
              <a:buFont typeface="Arial" panose="020B0604020202020204" pitchFamily="34" charset="0"/>
              <a:buChar char="•"/>
              <a:defRPr sz="2000"/>
            </a:lvl2pPr>
            <a:lvl3pPr marL="1200150" indent="-285750">
              <a:spcAft>
                <a:spcPts val="0"/>
              </a:spcAft>
              <a:buClr>
                <a:schemeClr val="tx1">
                  <a:lumMod val="50000"/>
                  <a:lumOff val="50000"/>
                </a:schemeClr>
              </a:buClr>
              <a:buFont typeface="Arial" panose="020B0604020202020204" pitchFamily="34" charset="0"/>
              <a:buChar char="•"/>
              <a:defRPr sz="1800"/>
            </a:lvl3pPr>
            <a:lvl4pPr marL="1600200" indent="-228600">
              <a:lnSpc>
                <a:spcPct val="100000"/>
              </a:lnSpc>
              <a:spcBef>
                <a:spcPts val="0"/>
              </a:spcBef>
              <a:buClr>
                <a:schemeClr val="bg1">
                  <a:lumMod val="65000"/>
                </a:schemeClr>
              </a:buClr>
              <a:buFont typeface="Arial" panose="020B0604020202020204" pitchFamily="34" charset="0"/>
              <a:buChar char="•"/>
              <a:defRPr sz="1600"/>
            </a:lvl4pPr>
          </a:lstStyle>
          <a:p>
            <a:pPr lvl="0"/>
            <a:r>
              <a:rPr lang="en-US"/>
              <a:t>Click to edit Master text styles</a:t>
            </a:r>
          </a:p>
        </p:txBody>
      </p:sp>
      <p:sp>
        <p:nvSpPr>
          <p:cNvPr id="5" name="Slide Number Placeholder 5">
            <a:extLst>
              <a:ext uri="{FF2B5EF4-FFF2-40B4-BE49-F238E27FC236}">
                <a16:creationId xmlns:a16="http://schemas.microsoft.com/office/drawing/2014/main" id="{2F18E8AF-8AB9-EB48-9206-34D0A3118B26}"/>
              </a:ext>
            </a:extLst>
          </p:cNvPr>
          <p:cNvSpPr>
            <a:spLocks noGrp="1"/>
          </p:cNvSpPr>
          <p:nvPr>
            <p:ph type="sldNum" sz="quarter" idx="10"/>
          </p:nvPr>
        </p:nvSpPr>
        <p:spPr>
          <a:xfrm>
            <a:off x="233363" y="6350000"/>
            <a:ext cx="11774487" cy="365125"/>
          </a:xfrm>
          <a:prstGeom prst="rect">
            <a:avLst/>
          </a:prstGeom>
        </p:spPr>
        <p:txBody>
          <a:bodyPr/>
          <a:lstStyle>
            <a:lvl1pPr algn="r">
              <a:defRPr>
                <a:solidFill>
                  <a:schemeClr val="bg2">
                    <a:lumMod val="75000"/>
                  </a:schemeClr>
                </a:solidFill>
              </a:defRPr>
            </a:lvl1pPr>
          </a:lstStyle>
          <a:p>
            <a:pPr>
              <a:defRPr/>
            </a:pPr>
            <a:fld id="{DC784C78-09D0-EF42-BFDD-0FA81E1E0BB1}" type="slidenum">
              <a:rPr lang="en-US" smtClean="0"/>
              <a:pPr>
                <a:defRPr/>
              </a:pPr>
              <a:t>‹#›</a:t>
            </a:fld>
            <a:endParaRPr lang="en-US"/>
          </a:p>
        </p:txBody>
      </p:sp>
      <p:sp>
        <p:nvSpPr>
          <p:cNvPr id="6" name="TextBox 11">
            <a:extLst>
              <a:ext uri="{FF2B5EF4-FFF2-40B4-BE49-F238E27FC236}">
                <a16:creationId xmlns:a16="http://schemas.microsoft.com/office/drawing/2014/main" id="{5EB70C11-09D5-394B-A9F6-AD4E69622F74}"/>
              </a:ext>
            </a:extLst>
          </p:cNvPr>
          <p:cNvSpPr txBox="1">
            <a:spLocks noChangeArrowheads="1"/>
          </p:cNvSpPr>
          <p:nvPr userDrawn="1"/>
        </p:nvSpPr>
        <p:spPr bwMode="auto">
          <a:xfrm>
            <a:off x="11463655" y="7376160"/>
            <a:ext cx="87947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800">
                <a:solidFill>
                  <a:srgbClr val="7F7F7F"/>
                </a:solidFill>
                <a:latin typeface="Calibri Light" panose="020F0302020204030204" pitchFamily="34" charset="0"/>
              </a:rPr>
              <a:t>© Digital.ai.2020</a:t>
            </a:r>
          </a:p>
        </p:txBody>
      </p:sp>
      <p:pic>
        <p:nvPicPr>
          <p:cNvPr id="7" name="Picture 6">
            <a:extLst>
              <a:ext uri="{FF2B5EF4-FFF2-40B4-BE49-F238E27FC236}">
                <a16:creationId xmlns:a16="http://schemas.microsoft.com/office/drawing/2014/main" id="{D8886F58-B3D7-4240-99E2-DF4D02768261}"/>
              </a:ext>
            </a:extLst>
          </p:cNvPr>
          <p:cNvPicPr>
            <a:picLocks noChangeAspect="1"/>
          </p:cNvPicPr>
          <p:nvPr userDrawn="1"/>
        </p:nvPicPr>
        <p:blipFill>
          <a:blip r:embed="rId2" cstate="screen">
            <a:alphaModFix amt="35000"/>
            <a:extLst>
              <a:ext uri="{28A0092B-C50C-407E-A947-70E740481C1C}">
                <a14:useLocalDpi xmlns:a14="http://schemas.microsoft.com/office/drawing/2010/main"/>
              </a:ext>
            </a:extLst>
          </a:blip>
          <a:stretch>
            <a:fillRect/>
          </a:stretch>
        </p:blipFill>
        <p:spPr>
          <a:xfrm>
            <a:off x="10280688" y="4409439"/>
            <a:ext cx="1911312" cy="1715453"/>
          </a:xfrm>
          <a:prstGeom prst="rect">
            <a:avLst/>
          </a:prstGeom>
        </p:spPr>
      </p:pic>
      <p:cxnSp>
        <p:nvCxnSpPr>
          <p:cNvPr id="8" name="Straight Connector 7">
            <a:extLst>
              <a:ext uri="{FF2B5EF4-FFF2-40B4-BE49-F238E27FC236}">
                <a16:creationId xmlns:a16="http://schemas.microsoft.com/office/drawing/2014/main" id="{3011BC9B-A38E-43B6-BA92-25E8463DD76B}"/>
              </a:ext>
            </a:extLst>
          </p:cNvPr>
          <p:cNvCxnSpPr/>
          <p:nvPr userDrawn="1"/>
        </p:nvCxnSpPr>
        <p:spPr>
          <a:xfrm>
            <a:off x="838200" y="1320800"/>
            <a:ext cx="11353800" cy="0"/>
          </a:xfrm>
          <a:prstGeom prst="line">
            <a:avLst/>
          </a:prstGeom>
          <a:ln w="31750" cap="rnd">
            <a:solidFill>
              <a:srgbClr val="7CBA4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02324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617AD-4598-EF4B-B0BE-75ACC7B0D4B5}"/>
              </a:ext>
            </a:extLst>
          </p:cNvPr>
          <p:cNvSpPr>
            <a:spLocks noGrp="1"/>
          </p:cNvSpPr>
          <p:nvPr>
            <p:ph type="title" hasCustomPrompt="1"/>
          </p:nvPr>
        </p:nvSpPr>
        <p:spPr>
          <a:xfrm>
            <a:off x="549941" y="430008"/>
            <a:ext cx="10798737" cy="486287"/>
          </a:xfrm>
          <a:noFill/>
        </p:spPr>
        <p:txBody>
          <a:bodyPr wrap="square" rtlCol="0" anchor="t">
            <a:spAutoFit/>
          </a:bodyPr>
          <a:lstStyle>
            <a:lvl1pPr>
              <a:lnSpc>
                <a:spcPct val="80000"/>
              </a:lnSpc>
              <a:defRPr lang="en-US" sz="3200" spc="-150" dirty="0">
                <a:ea typeface="+mn-ea"/>
              </a:defRPr>
            </a:lvl1pPr>
          </a:lstStyle>
          <a:p>
            <a:pPr marL="0" lvl="0" defTabSz="914400" latinLnBrk="0">
              <a:lnSpc>
                <a:spcPct val="80000"/>
              </a:lnSpc>
            </a:pPr>
            <a:r>
              <a:rPr lang="en-US"/>
              <a:t>CLICK TO EDIT TITLE</a:t>
            </a:r>
          </a:p>
        </p:txBody>
      </p:sp>
      <p:sp>
        <p:nvSpPr>
          <p:cNvPr id="3" name="Slide Number Placeholder 3">
            <a:extLst>
              <a:ext uri="{FF2B5EF4-FFF2-40B4-BE49-F238E27FC236}">
                <a16:creationId xmlns:a16="http://schemas.microsoft.com/office/drawing/2014/main" id="{D8C412D9-E3B9-304A-B0F1-B490D3CCFB32}"/>
              </a:ext>
            </a:extLst>
          </p:cNvPr>
          <p:cNvSpPr>
            <a:spLocks noGrp="1"/>
          </p:cNvSpPr>
          <p:nvPr>
            <p:ph type="sldNum" sz="quarter" idx="4"/>
          </p:nvPr>
        </p:nvSpPr>
        <p:spPr>
          <a:xfrm>
            <a:off x="11466736" y="6461563"/>
            <a:ext cx="494015" cy="365125"/>
          </a:xfrm>
          <a:prstGeom prst="rect">
            <a:avLst/>
          </a:prstGeom>
        </p:spPr>
        <p:txBody>
          <a:bodyPr vert="horz" lIns="91440" tIns="45720" rIns="91440" bIns="45720" rtlCol="0" anchor="ctr"/>
          <a:lstStyle>
            <a:lvl1pPr algn="r">
              <a:defRPr sz="700">
                <a:solidFill>
                  <a:schemeClr val="tx1">
                    <a:lumMod val="85000"/>
                    <a:lumOff val="15000"/>
                  </a:schemeClr>
                </a:solidFill>
              </a:defRPr>
            </a:lvl1pPr>
          </a:lstStyle>
          <a:p>
            <a:fld id="{7807D63B-5E22-2649-BDDD-63996CEFF5E5}" type="slidenum">
              <a:rPr lang="en-US" smtClean="0"/>
              <a:pPr/>
              <a:t>‹#›</a:t>
            </a:fld>
            <a:endParaRPr lang="en-US"/>
          </a:p>
        </p:txBody>
      </p:sp>
    </p:spTree>
    <p:extLst>
      <p:ext uri="{BB962C8B-B14F-4D97-AF65-F5344CB8AC3E}">
        <p14:creationId xmlns:p14="http://schemas.microsoft.com/office/powerpoint/2010/main" val="2839909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duotone>
              <a:schemeClr val="accent2">
                <a:shade val="45000"/>
                <a:satMod val="135000"/>
              </a:schemeClr>
              <a:prstClr val="white"/>
            </a:duotone>
            <a:extLst>
              <a:ext uri="{28A0092B-C50C-407E-A947-70E740481C1C}">
                <a14:useLocalDpi xmlns:a14="http://schemas.microsoft.com/office/drawing/2010/main"/>
              </a:ext>
            </a:extLst>
          </a:blip>
          <a:srcRect r="33635"/>
          <a:stretch/>
        </p:blipFill>
        <p:spPr>
          <a:xfrm>
            <a:off x="5692484" y="854892"/>
            <a:ext cx="6481373" cy="5859789"/>
          </a:xfrm>
          <a:prstGeom prst="rect">
            <a:avLst/>
          </a:prstGeom>
        </p:spPr>
      </p:pic>
      <p:sp>
        <p:nvSpPr>
          <p:cNvPr id="11" name="Rectangle 10"/>
          <p:cNvSpPr/>
          <p:nvPr userDrawn="1"/>
        </p:nvSpPr>
        <p:spPr>
          <a:xfrm>
            <a:off x="0" y="0"/>
            <a:ext cx="12192000" cy="845820"/>
          </a:xfrm>
          <a:prstGeom prst="rect">
            <a:avLst/>
          </a:prstGeom>
          <a:solidFill>
            <a:srgbClr val="1575A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prstClr val="white"/>
              </a:solidFill>
            </a:endParaRPr>
          </a:p>
        </p:txBody>
      </p:sp>
      <p:sp>
        <p:nvSpPr>
          <p:cNvPr id="12" name="Rectangle 11"/>
          <p:cNvSpPr/>
          <p:nvPr userDrawn="1"/>
        </p:nvSpPr>
        <p:spPr>
          <a:xfrm>
            <a:off x="0" y="6629400"/>
            <a:ext cx="12192000" cy="228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prstClr val="white"/>
              </a:solidFill>
            </a:endParaRPr>
          </a:p>
        </p:txBody>
      </p:sp>
      <p:sp>
        <p:nvSpPr>
          <p:cNvPr id="19" name="Title 18"/>
          <p:cNvSpPr>
            <a:spLocks noGrp="1"/>
          </p:cNvSpPr>
          <p:nvPr>
            <p:ph type="title" hasCustomPrompt="1"/>
          </p:nvPr>
        </p:nvSpPr>
        <p:spPr>
          <a:xfrm>
            <a:off x="518160" y="3314322"/>
            <a:ext cx="7883633" cy="838200"/>
          </a:xfrm>
        </p:spPr>
        <p:txBody>
          <a:bodyPr anchor="b">
            <a:noAutofit/>
          </a:bodyPr>
          <a:lstStyle>
            <a:lvl1pPr marL="0" algn="l" defTabSz="914363" rtl="0" eaLnBrk="1" latinLnBrk="0" hangingPunct="1">
              <a:lnSpc>
                <a:spcPct val="90000"/>
              </a:lnSpc>
              <a:spcBef>
                <a:spcPct val="0"/>
              </a:spcBef>
              <a:buNone/>
              <a:defRPr lang="en-US" sz="5000" b="1" kern="1200" dirty="0">
                <a:solidFill>
                  <a:schemeClr val="accent2"/>
                </a:solidFill>
                <a:latin typeface="+mn-lt"/>
                <a:ea typeface="+mj-ea"/>
                <a:cs typeface="+mj-cs"/>
              </a:defRPr>
            </a:lvl1pPr>
          </a:lstStyle>
          <a:p>
            <a:r>
              <a:rPr lang="en-US"/>
              <a:t>Click to Edit Master Title</a:t>
            </a:r>
          </a:p>
        </p:txBody>
      </p:sp>
      <p:sp>
        <p:nvSpPr>
          <p:cNvPr id="16" name="Subtitle 2"/>
          <p:cNvSpPr>
            <a:spLocks noGrp="1"/>
          </p:cNvSpPr>
          <p:nvPr>
            <p:ph type="subTitle" idx="1" hasCustomPrompt="1"/>
          </p:nvPr>
        </p:nvSpPr>
        <p:spPr>
          <a:xfrm>
            <a:off x="518161" y="4225093"/>
            <a:ext cx="5889644" cy="457200"/>
          </a:xfrm>
        </p:spPr>
        <p:txBody>
          <a:bodyPr anchor="ctr">
            <a:noAutofit/>
          </a:bodyPr>
          <a:lstStyle>
            <a:lvl1pPr marL="0" indent="0" algn="l">
              <a:buNone/>
              <a:defRPr sz="3667" b="0" i="0">
                <a:solidFill>
                  <a:schemeClr val="accent2"/>
                </a:solidFill>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Heading</a:t>
            </a:r>
          </a:p>
        </p:txBody>
      </p:sp>
      <p:sp>
        <p:nvSpPr>
          <p:cNvPr id="18" name="Text Placeholder 10"/>
          <p:cNvSpPr>
            <a:spLocks noGrp="1"/>
          </p:cNvSpPr>
          <p:nvPr>
            <p:ph type="body" sz="quarter" idx="10" hasCustomPrompt="1"/>
          </p:nvPr>
        </p:nvSpPr>
        <p:spPr>
          <a:xfrm>
            <a:off x="508623" y="4817397"/>
            <a:ext cx="5895788" cy="400496"/>
          </a:xfrm>
        </p:spPr>
        <p:txBody>
          <a:bodyPr anchor="ctr">
            <a:normAutofit/>
          </a:bodyPr>
          <a:lstStyle>
            <a:lvl1pPr>
              <a:defRPr sz="2000" b="0" i="1">
                <a:solidFill>
                  <a:schemeClr val="tx1"/>
                </a:solidFill>
              </a:defRPr>
            </a:lvl1pPr>
          </a:lstStyle>
          <a:p>
            <a:pPr lvl="0"/>
            <a:r>
              <a:rPr lang="en-US"/>
              <a:t>Click to Edit Sub Heading</a:t>
            </a:r>
          </a:p>
        </p:txBody>
      </p:sp>
      <p:pic>
        <p:nvPicPr>
          <p:cNvPr id="3" name="Picture 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76955" y="296100"/>
            <a:ext cx="2118386" cy="320172"/>
          </a:xfrm>
          <a:prstGeom prst="rect">
            <a:avLst/>
          </a:prstGeom>
        </p:spPr>
      </p:pic>
    </p:spTree>
    <p:extLst>
      <p:ext uri="{BB962C8B-B14F-4D97-AF65-F5344CB8AC3E}">
        <p14:creationId xmlns:p14="http://schemas.microsoft.com/office/powerpoint/2010/main" val="36599233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4"/>
          <p:cNvSpPr>
            <a:spLocks noGrp="1"/>
          </p:cNvSpPr>
          <p:nvPr>
            <p:ph type="body" sz="quarter" idx="10"/>
          </p:nvPr>
        </p:nvSpPr>
        <p:spPr>
          <a:xfrm>
            <a:off x="1128156" y="1994134"/>
            <a:ext cx="3065918" cy="674688"/>
          </a:xfrm>
        </p:spPr>
        <p:txBody>
          <a:bodyPr>
            <a:normAutofit/>
          </a:bodyPr>
          <a:lstStyle>
            <a:lvl1pPr algn="r">
              <a:defRPr sz="3333" b="1">
                <a:solidFill>
                  <a:schemeClr val="accent2"/>
                </a:solidFill>
              </a:defRPr>
            </a:lvl1pPr>
          </a:lstStyle>
          <a:p>
            <a:pPr lvl="0"/>
            <a:r>
              <a:rPr lang="en-US"/>
              <a:t>Edit Master text styles</a:t>
            </a:r>
          </a:p>
        </p:txBody>
      </p:sp>
      <p:sp>
        <p:nvSpPr>
          <p:cNvPr id="5" name="Rectangle 4"/>
          <p:cNvSpPr/>
          <p:nvPr userDrawn="1"/>
        </p:nvSpPr>
        <p:spPr>
          <a:xfrm>
            <a:off x="4433451" y="1622962"/>
            <a:ext cx="38100" cy="44136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prstClr val="white"/>
              </a:solidFill>
            </a:endParaRPr>
          </a:p>
        </p:txBody>
      </p:sp>
      <p:sp>
        <p:nvSpPr>
          <p:cNvPr id="6" name="Rectangle 5"/>
          <p:cNvSpPr/>
          <p:nvPr userDrawn="1"/>
        </p:nvSpPr>
        <p:spPr>
          <a:xfrm>
            <a:off x="5828806" y="1597990"/>
            <a:ext cx="182059" cy="4413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prstClr val="white"/>
              </a:solidFill>
            </a:endParaRPr>
          </a:p>
        </p:txBody>
      </p:sp>
      <p:sp>
        <p:nvSpPr>
          <p:cNvPr id="7" name="Text Placeholder 4"/>
          <p:cNvSpPr>
            <a:spLocks noGrp="1"/>
          </p:cNvSpPr>
          <p:nvPr>
            <p:ph type="body" sz="quarter" idx="11" hasCustomPrompt="1"/>
          </p:nvPr>
        </p:nvSpPr>
        <p:spPr>
          <a:xfrm>
            <a:off x="4849091" y="1981729"/>
            <a:ext cx="5986019" cy="3646185"/>
          </a:xfrm>
        </p:spPr>
        <p:txBody>
          <a:bodyPr>
            <a:normAutofit/>
          </a:bodyPr>
          <a:lstStyle>
            <a:lvl1pPr marL="380985" marR="0" indent="-380985" algn="l" defTabSz="914363" rtl="0" eaLnBrk="1" fontAlgn="auto" latinLnBrk="0" hangingPunct="1">
              <a:lnSpc>
                <a:spcPct val="90000"/>
              </a:lnSpc>
              <a:spcBef>
                <a:spcPts val="1000"/>
              </a:spcBef>
              <a:spcAft>
                <a:spcPts val="0"/>
              </a:spcAft>
              <a:buClr>
                <a:srgbClr val="0083AF"/>
              </a:buClr>
              <a:buSzTx/>
              <a:buFont typeface="Arial" panose="020B0604020202020204" pitchFamily="34" charset="0"/>
              <a:buChar char="•"/>
              <a:tabLst/>
              <a:defRPr sz="2333" b="0">
                <a:solidFill>
                  <a:schemeClr val="tx1"/>
                </a:solidFill>
              </a:defRPr>
            </a:lvl1pPr>
            <a:lvl2pPr marL="424640" indent="380985">
              <a:buClr>
                <a:srgbClr val="0083AF"/>
              </a:buClr>
              <a:buSzPct val="70000"/>
              <a:buFont typeface="Courier New" panose="02070309020205020404" pitchFamily="49" charset="0"/>
              <a:buChar char="o"/>
              <a:defRPr sz="2333">
                <a:solidFill>
                  <a:schemeClr val="tx1"/>
                </a:solidFill>
              </a:defRPr>
            </a:lvl2pPr>
            <a:lvl3pPr marL="761970" indent="-337331">
              <a:buFont typeface="Courier New" panose="02070309020205020404" pitchFamily="49" charset="0"/>
              <a:buChar char="o"/>
              <a:defRPr lang="en-US" sz="2250" b="0" kern="1200" dirty="0">
                <a:solidFill>
                  <a:schemeClr val="accent3"/>
                </a:solidFill>
                <a:latin typeface="+mn-lt"/>
                <a:ea typeface="+mn-ea"/>
                <a:cs typeface="+mn-cs"/>
              </a:defRPr>
            </a:lvl3pPr>
          </a:lstStyle>
          <a:p>
            <a:pPr lvl="0"/>
            <a:r>
              <a:rPr lang="en-US"/>
              <a:t>Edit Master text styles</a:t>
            </a:r>
          </a:p>
          <a:p>
            <a:pPr lvl="1"/>
            <a:r>
              <a:rPr lang="en-US"/>
              <a:t>Second Level</a:t>
            </a:r>
          </a:p>
          <a:p>
            <a:pPr lvl="0"/>
            <a:endParaRPr lang="en-US"/>
          </a:p>
          <a:p>
            <a:pPr lvl="2"/>
            <a:endParaRPr lang="en-US"/>
          </a:p>
        </p:txBody>
      </p:sp>
      <p:sp>
        <p:nvSpPr>
          <p:cNvPr id="8" name="TextBox 7"/>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9" name="TextBox 8"/>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spTree>
    <p:extLst>
      <p:ext uri="{BB962C8B-B14F-4D97-AF65-F5344CB8AC3E}">
        <p14:creationId xmlns:p14="http://schemas.microsoft.com/office/powerpoint/2010/main" val="34389539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3" name="TextBox 2"/>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4" name="TextBox 3"/>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cxnSp>
        <p:nvCxnSpPr>
          <p:cNvPr id="6" name="Straight Connector 5"/>
          <p:cNvCxnSpPr/>
          <p:nvPr userDrawn="1"/>
        </p:nvCxnSpPr>
        <p:spPr>
          <a:xfrm flipV="1">
            <a:off x="0" y="6241143"/>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a:xfrm>
            <a:off x="0" y="0"/>
            <a:ext cx="12192000" cy="845820"/>
          </a:xfrm>
          <a:prstGeom prst="rect">
            <a:avLst/>
          </a:prstGeom>
          <a:solidFill>
            <a:srgbClr val="1575A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1" name="Rectangle 10"/>
          <p:cNvSpPr/>
          <p:nvPr userDrawn="1"/>
        </p:nvSpPr>
        <p:spPr>
          <a:xfrm>
            <a:off x="6934200" y="8248"/>
            <a:ext cx="1752600" cy="599900"/>
          </a:xfrm>
          <a:prstGeom prst="rect">
            <a:avLst/>
          </a:prstGeom>
          <a:solidFill>
            <a:srgbClr val="008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2" name="Rectangle 11"/>
          <p:cNvSpPr/>
          <p:nvPr userDrawn="1"/>
        </p:nvSpPr>
        <p:spPr>
          <a:xfrm>
            <a:off x="5181600" y="608149"/>
            <a:ext cx="1752600" cy="246528"/>
          </a:xfrm>
          <a:prstGeom prst="rect">
            <a:avLst/>
          </a:prstGeom>
          <a:solidFill>
            <a:srgbClr val="008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cxnSp>
        <p:nvCxnSpPr>
          <p:cNvPr id="13" name="Straight Connector 12"/>
          <p:cNvCxnSpPr/>
          <p:nvPr userDrawn="1"/>
        </p:nvCxnSpPr>
        <p:spPr>
          <a:xfrm>
            <a:off x="6934200" y="608148"/>
            <a:ext cx="52578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6934200" y="0"/>
            <a:ext cx="0" cy="854676"/>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10450286" y="0"/>
            <a:ext cx="0" cy="854676"/>
          </a:xfrm>
          <a:prstGeom prst="line">
            <a:avLst/>
          </a:prstGeom>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442785" y="0"/>
            <a:ext cx="10911016" cy="854676"/>
          </a:xfrm>
        </p:spPr>
        <p:txBody>
          <a:bodyPr>
            <a:normAutofit/>
          </a:bodyPr>
          <a:lstStyle>
            <a:lvl1pPr>
              <a:defRPr sz="3000">
                <a:solidFill>
                  <a:schemeClr val="bg1"/>
                </a:solidFill>
              </a:defRPr>
            </a:lvl1pPr>
          </a:lstStyle>
          <a:p>
            <a:r>
              <a:rPr lang="en-US"/>
              <a:t>Click to edit Master title style</a:t>
            </a:r>
          </a:p>
        </p:txBody>
      </p:sp>
      <p:sp>
        <p:nvSpPr>
          <p:cNvPr id="17" name="Content Placeholder 2"/>
          <p:cNvSpPr>
            <a:spLocks noGrp="1"/>
          </p:cNvSpPr>
          <p:nvPr>
            <p:ph idx="1" hasCustomPrompt="1"/>
          </p:nvPr>
        </p:nvSpPr>
        <p:spPr>
          <a:xfrm>
            <a:off x="649941" y="1361440"/>
            <a:ext cx="10703859" cy="4760837"/>
          </a:xfrm>
        </p:spPr>
        <p:txBody>
          <a:bodyPr>
            <a:normAutofit/>
          </a:bodyPr>
          <a:lstStyle>
            <a:lvl1pPr>
              <a:defRPr sz="2333" b="0">
                <a:solidFill>
                  <a:schemeClr val="tx1"/>
                </a:solidFill>
              </a:defRPr>
            </a:lvl1pPr>
            <a:lvl2pPr>
              <a:buClr>
                <a:schemeClr val="accent1"/>
              </a:buClr>
              <a:buSzPct val="100000"/>
              <a:defRPr sz="2333">
                <a:solidFill>
                  <a:schemeClr val="tx1"/>
                </a:solidFill>
              </a:defRPr>
            </a:lvl2pPr>
            <a:lvl3pPr marL="525177" indent="-238115">
              <a:buClr>
                <a:schemeClr val="accent1"/>
              </a:buClr>
              <a:buSzPct val="90000"/>
              <a:buFont typeface="Calibri" panose="020F0502020204030204" pitchFamily="34" charset="0"/>
              <a:buChar char="–"/>
              <a:defRPr sz="2333">
                <a:solidFill>
                  <a:schemeClr val="tx1"/>
                </a:solidFill>
              </a:defRPr>
            </a:lvl3pPr>
            <a:lvl4pPr marL="761970" indent="-227533">
              <a:buClr>
                <a:schemeClr val="accent1"/>
              </a:buClr>
              <a:buSzPct val="90000"/>
              <a:buFont typeface="Courier New" panose="02070309020205020404" pitchFamily="49" charset="0"/>
              <a:buChar char="o"/>
              <a:defRPr sz="2333">
                <a:solidFill>
                  <a:schemeClr val="tx1"/>
                </a:solidFill>
              </a:defRPr>
            </a:lvl4pPr>
            <a:lvl5pPr>
              <a:buClr>
                <a:schemeClr val="accent4"/>
              </a:buClr>
              <a:defRPr sz="20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8" name="Picture 1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7068" y="6436854"/>
            <a:ext cx="1591732" cy="240573"/>
          </a:xfrm>
          <a:prstGeom prst="rect">
            <a:avLst/>
          </a:prstGeom>
        </p:spPr>
      </p:pic>
    </p:spTree>
    <p:extLst>
      <p:ext uri="{BB962C8B-B14F-4D97-AF65-F5344CB8AC3E}">
        <p14:creationId xmlns:p14="http://schemas.microsoft.com/office/powerpoint/2010/main" val="27865362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 Title &amp; Content">
    <p:spTree>
      <p:nvGrpSpPr>
        <p:cNvPr id="1" name=""/>
        <p:cNvGrpSpPr/>
        <p:nvPr/>
      </p:nvGrpSpPr>
      <p:grpSpPr>
        <a:xfrm>
          <a:off x="0" y="0"/>
          <a:ext cx="0" cy="0"/>
          <a:chOff x="0" y="0"/>
          <a:chExt cx="0" cy="0"/>
        </a:xfrm>
      </p:grpSpPr>
      <p:sp>
        <p:nvSpPr>
          <p:cNvPr id="3" name="TextBox 2"/>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4" name="TextBox 3"/>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cxnSp>
        <p:nvCxnSpPr>
          <p:cNvPr id="6" name="Straight Connector 5"/>
          <p:cNvCxnSpPr/>
          <p:nvPr userDrawn="1"/>
        </p:nvCxnSpPr>
        <p:spPr>
          <a:xfrm flipV="1">
            <a:off x="0" y="6241143"/>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a:xfrm>
            <a:off x="0" y="0"/>
            <a:ext cx="12192000" cy="845820"/>
          </a:xfrm>
          <a:prstGeom prst="rect">
            <a:avLst/>
          </a:prstGeom>
          <a:solidFill>
            <a:srgbClr val="1575A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1" name="Rectangle 10"/>
          <p:cNvSpPr/>
          <p:nvPr userDrawn="1"/>
        </p:nvSpPr>
        <p:spPr>
          <a:xfrm>
            <a:off x="6934200" y="8248"/>
            <a:ext cx="1752600" cy="599900"/>
          </a:xfrm>
          <a:prstGeom prst="rect">
            <a:avLst/>
          </a:prstGeom>
          <a:solidFill>
            <a:srgbClr val="008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2" name="Rectangle 11"/>
          <p:cNvSpPr/>
          <p:nvPr userDrawn="1"/>
        </p:nvSpPr>
        <p:spPr>
          <a:xfrm>
            <a:off x="5181600" y="608149"/>
            <a:ext cx="1752600" cy="246528"/>
          </a:xfrm>
          <a:prstGeom prst="rect">
            <a:avLst/>
          </a:prstGeom>
          <a:solidFill>
            <a:srgbClr val="008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cxnSp>
        <p:nvCxnSpPr>
          <p:cNvPr id="13" name="Straight Connector 12"/>
          <p:cNvCxnSpPr/>
          <p:nvPr userDrawn="1"/>
        </p:nvCxnSpPr>
        <p:spPr>
          <a:xfrm>
            <a:off x="6934200" y="608148"/>
            <a:ext cx="52578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6934200" y="0"/>
            <a:ext cx="0" cy="854676"/>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10450286" y="0"/>
            <a:ext cx="0" cy="854676"/>
          </a:xfrm>
          <a:prstGeom prst="line">
            <a:avLst/>
          </a:prstGeom>
        </p:spPr>
        <p:style>
          <a:lnRef idx="1">
            <a:schemeClr val="accent1"/>
          </a:lnRef>
          <a:fillRef idx="0">
            <a:schemeClr val="accent1"/>
          </a:fillRef>
          <a:effectRef idx="0">
            <a:schemeClr val="accent1"/>
          </a:effectRef>
          <a:fontRef idx="minor">
            <a:schemeClr val="tx1"/>
          </a:fontRef>
        </p:style>
      </p:cxnSp>
      <p:sp>
        <p:nvSpPr>
          <p:cNvPr id="19" name="Text Placeholder 9"/>
          <p:cNvSpPr>
            <a:spLocks noGrp="1"/>
          </p:cNvSpPr>
          <p:nvPr>
            <p:ph type="body" sz="quarter" idx="10" hasCustomPrompt="1"/>
          </p:nvPr>
        </p:nvSpPr>
        <p:spPr>
          <a:xfrm>
            <a:off x="443178" y="957792"/>
            <a:ext cx="10910093" cy="380355"/>
          </a:xfrm>
        </p:spPr>
        <p:txBody>
          <a:bodyPr>
            <a:noAutofit/>
          </a:bodyPr>
          <a:lstStyle>
            <a:lvl1pPr>
              <a:defRPr sz="2333" b="0" baseline="0">
                <a:solidFill>
                  <a:schemeClr val="accent1"/>
                </a:solidFill>
              </a:defRPr>
            </a:lvl1pPr>
          </a:lstStyle>
          <a:p>
            <a:pPr lvl="0"/>
            <a:r>
              <a:rPr lang="en-US"/>
              <a:t>Subhead goes here</a:t>
            </a:r>
          </a:p>
        </p:txBody>
      </p:sp>
      <p:sp>
        <p:nvSpPr>
          <p:cNvPr id="20" name="Text Placeholder 9"/>
          <p:cNvSpPr>
            <a:spLocks noGrp="1"/>
          </p:cNvSpPr>
          <p:nvPr>
            <p:ph type="body" sz="quarter" idx="11" hasCustomPrompt="1"/>
          </p:nvPr>
        </p:nvSpPr>
        <p:spPr>
          <a:xfrm>
            <a:off x="443178" y="1427209"/>
            <a:ext cx="10910093" cy="529683"/>
          </a:xfrm>
        </p:spPr>
        <p:txBody>
          <a:bodyPr>
            <a:normAutofit/>
          </a:bodyPr>
          <a:lstStyle>
            <a:lvl1pPr>
              <a:defRPr sz="2000" b="0" i="1" baseline="0">
                <a:solidFill>
                  <a:schemeClr val="tx1"/>
                </a:solidFill>
              </a:defRPr>
            </a:lvl1pPr>
          </a:lstStyle>
          <a:p>
            <a:pPr lvl="0"/>
            <a:r>
              <a:rPr lang="en-US"/>
              <a:t>Click to edit text</a:t>
            </a:r>
          </a:p>
        </p:txBody>
      </p:sp>
      <p:sp>
        <p:nvSpPr>
          <p:cNvPr id="21" name="Title 1"/>
          <p:cNvSpPr>
            <a:spLocks noGrp="1"/>
          </p:cNvSpPr>
          <p:nvPr>
            <p:ph type="title"/>
          </p:nvPr>
        </p:nvSpPr>
        <p:spPr>
          <a:xfrm>
            <a:off x="442785" y="0"/>
            <a:ext cx="10911016" cy="854676"/>
          </a:xfrm>
        </p:spPr>
        <p:txBody>
          <a:bodyPr>
            <a:normAutofit/>
          </a:bodyPr>
          <a:lstStyle>
            <a:lvl1pPr>
              <a:defRPr sz="3000">
                <a:solidFill>
                  <a:schemeClr val="bg1"/>
                </a:solidFill>
              </a:defRPr>
            </a:lvl1pPr>
          </a:lstStyle>
          <a:p>
            <a:r>
              <a:rPr lang="en-US"/>
              <a:t>Click to edit Master title style</a:t>
            </a:r>
          </a:p>
        </p:txBody>
      </p:sp>
      <p:sp>
        <p:nvSpPr>
          <p:cNvPr id="22" name="Content Placeholder 2"/>
          <p:cNvSpPr>
            <a:spLocks noGrp="1"/>
          </p:cNvSpPr>
          <p:nvPr>
            <p:ph idx="1" hasCustomPrompt="1"/>
          </p:nvPr>
        </p:nvSpPr>
        <p:spPr>
          <a:xfrm>
            <a:off x="649941" y="2045954"/>
            <a:ext cx="10703859" cy="4076323"/>
          </a:xfrm>
        </p:spPr>
        <p:txBody>
          <a:bodyPr>
            <a:normAutofit/>
          </a:bodyPr>
          <a:lstStyle>
            <a:lvl1pPr>
              <a:defRPr sz="2333" b="0">
                <a:solidFill>
                  <a:schemeClr val="tx1"/>
                </a:solidFill>
              </a:defRPr>
            </a:lvl1pPr>
            <a:lvl2pPr>
              <a:buClr>
                <a:schemeClr val="accent1"/>
              </a:buClr>
              <a:buSzPct val="100000"/>
              <a:defRPr sz="2333">
                <a:solidFill>
                  <a:schemeClr val="tx1"/>
                </a:solidFill>
              </a:defRPr>
            </a:lvl2pPr>
            <a:lvl3pPr marL="525177" indent="-238115">
              <a:buClr>
                <a:schemeClr val="accent1"/>
              </a:buClr>
              <a:buSzPct val="90000"/>
              <a:buFont typeface="Calibri" panose="020F0502020204030204" pitchFamily="34" charset="0"/>
              <a:buChar char="–"/>
              <a:defRPr sz="2333">
                <a:solidFill>
                  <a:schemeClr val="tx1"/>
                </a:solidFill>
              </a:defRPr>
            </a:lvl3pPr>
            <a:lvl4pPr marL="761970" indent="-227533">
              <a:buClr>
                <a:schemeClr val="accent1"/>
              </a:buClr>
              <a:buSzPct val="90000"/>
              <a:buFont typeface="Courier New" panose="02070309020205020404" pitchFamily="49" charset="0"/>
              <a:buChar char="o"/>
              <a:defRPr sz="2333">
                <a:solidFill>
                  <a:schemeClr val="tx1"/>
                </a:solidFill>
              </a:defRPr>
            </a:lvl4pPr>
            <a:lvl5pPr>
              <a:buClr>
                <a:schemeClr val="accent4"/>
              </a:buClr>
              <a:defRPr sz="20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7" name="Picture 1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7068" y="6436854"/>
            <a:ext cx="1591732" cy="240573"/>
          </a:xfrm>
          <a:prstGeom prst="rect">
            <a:avLst/>
          </a:prstGeom>
        </p:spPr>
      </p:pic>
    </p:spTree>
    <p:extLst>
      <p:ext uri="{BB962C8B-B14F-4D97-AF65-F5344CB8AC3E}">
        <p14:creationId xmlns:p14="http://schemas.microsoft.com/office/powerpoint/2010/main" val="29275545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amp; Chart">
    <p:spTree>
      <p:nvGrpSpPr>
        <p:cNvPr id="1" name=""/>
        <p:cNvGrpSpPr/>
        <p:nvPr/>
      </p:nvGrpSpPr>
      <p:grpSpPr>
        <a:xfrm>
          <a:off x="0" y="0"/>
          <a:ext cx="0" cy="0"/>
          <a:chOff x="0" y="0"/>
          <a:chExt cx="0" cy="0"/>
        </a:xfrm>
      </p:grpSpPr>
      <p:sp>
        <p:nvSpPr>
          <p:cNvPr id="3" name="TextBox 2"/>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4" name="TextBox 3"/>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sp>
        <p:nvSpPr>
          <p:cNvPr id="10" name="Rectangle 9"/>
          <p:cNvSpPr/>
          <p:nvPr userDrawn="1"/>
        </p:nvSpPr>
        <p:spPr>
          <a:xfrm>
            <a:off x="0" y="0"/>
            <a:ext cx="12192000" cy="845820"/>
          </a:xfrm>
          <a:prstGeom prst="rect">
            <a:avLst/>
          </a:prstGeom>
          <a:solidFill>
            <a:srgbClr val="1575A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1" name="Rectangle 10"/>
          <p:cNvSpPr/>
          <p:nvPr userDrawn="1"/>
        </p:nvSpPr>
        <p:spPr>
          <a:xfrm>
            <a:off x="6934200" y="8248"/>
            <a:ext cx="1752600" cy="599900"/>
          </a:xfrm>
          <a:prstGeom prst="rect">
            <a:avLst/>
          </a:prstGeom>
          <a:solidFill>
            <a:srgbClr val="008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2" name="Rectangle 11"/>
          <p:cNvSpPr/>
          <p:nvPr userDrawn="1"/>
        </p:nvSpPr>
        <p:spPr>
          <a:xfrm>
            <a:off x="5181600" y="608149"/>
            <a:ext cx="1752600" cy="246528"/>
          </a:xfrm>
          <a:prstGeom prst="rect">
            <a:avLst/>
          </a:prstGeom>
          <a:solidFill>
            <a:srgbClr val="008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cxnSp>
        <p:nvCxnSpPr>
          <p:cNvPr id="13" name="Straight Connector 12"/>
          <p:cNvCxnSpPr/>
          <p:nvPr userDrawn="1"/>
        </p:nvCxnSpPr>
        <p:spPr>
          <a:xfrm>
            <a:off x="6934200" y="608148"/>
            <a:ext cx="52578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6934200" y="0"/>
            <a:ext cx="0" cy="854676"/>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10450286" y="0"/>
            <a:ext cx="0" cy="854676"/>
          </a:xfrm>
          <a:prstGeom prst="line">
            <a:avLst/>
          </a:prstGeom>
        </p:spPr>
        <p:style>
          <a:lnRef idx="1">
            <a:schemeClr val="accent1"/>
          </a:lnRef>
          <a:fillRef idx="0">
            <a:schemeClr val="accent1"/>
          </a:fillRef>
          <a:effectRef idx="0">
            <a:schemeClr val="accent1"/>
          </a:effectRef>
          <a:fontRef idx="minor">
            <a:schemeClr val="tx1"/>
          </a:fontRef>
        </p:style>
      </p:cxnSp>
      <p:sp>
        <p:nvSpPr>
          <p:cNvPr id="21" name="Title 1"/>
          <p:cNvSpPr>
            <a:spLocks noGrp="1"/>
          </p:cNvSpPr>
          <p:nvPr>
            <p:ph type="title"/>
          </p:nvPr>
        </p:nvSpPr>
        <p:spPr>
          <a:xfrm>
            <a:off x="442785" y="0"/>
            <a:ext cx="10911016" cy="854676"/>
          </a:xfrm>
        </p:spPr>
        <p:txBody>
          <a:bodyPr>
            <a:normAutofit/>
          </a:bodyPr>
          <a:lstStyle>
            <a:lvl1pPr>
              <a:defRPr sz="3000">
                <a:solidFill>
                  <a:schemeClr val="bg1"/>
                </a:solidFill>
              </a:defRPr>
            </a:lvl1pPr>
          </a:lstStyle>
          <a:p>
            <a:r>
              <a:rPr lang="en-US"/>
              <a:t>Click to edit Master title style</a:t>
            </a:r>
          </a:p>
        </p:txBody>
      </p:sp>
      <p:sp>
        <p:nvSpPr>
          <p:cNvPr id="23" name="Chart Placeholder 4"/>
          <p:cNvSpPr>
            <a:spLocks noGrp="1"/>
          </p:cNvSpPr>
          <p:nvPr>
            <p:ph type="chart" sz="quarter" idx="12"/>
          </p:nvPr>
        </p:nvSpPr>
        <p:spPr>
          <a:xfrm>
            <a:off x="6879167" y="1091514"/>
            <a:ext cx="5138208" cy="4952893"/>
          </a:xfrm>
        </p:spPr>
        <p:txBody>
          <a:bodyPr/>
          <a:lstStyle>
            <a:lvl1pPr>
              <a:defRPr>
                <a:solidFill>
                  <a:schemeClr val="tx1"/>
                </a:solidFill>
              </a:defRPr>
            </a:lvl1pPr>
          </a:lstStyle>
          <a:p>
            <a:endParaRPr lang="en-US"/>
          </a:p>
        </p:txBody>
      </p:sp>
      <p:cxnSp>
        <p:nvCxnSpPr>
          <p:cNvPr id="24" name="Straight Connector 23"/>
          <p:cNvCxnSpPr/>
          <p:nvPr userDrawn="1"/>
        </p:nvCxnSpPr>
        <p:spPr>
          <a:xfrm flipV="1">
            <a:off x="0" y="6241143"/>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5" name="Text Placeholder 9"/>
          <p:cNvSpPr>
            <a:spLocks noGrp="1"/>
          </p:cNvSpPr>
          <p:nvPr>
            <p:ph type="body" sz="quarter" idx="10" hasCustomPrompt="1"/>
          </p:nvPr>
        </p:nvSpPr>
        <p:spPr>
          <a:xfrm>
            <a:off x="443178" y="957792"/>
            <a:ext cx="6262948" cy="380355"/>
          </a:xfrm>
        </p:spPr>
        <p:txBody>
          <a:bodyPr>
            <a:noAutofit/>
          </a:bodyPr>
          <a:lstStyle>
            <a:lvl1pPr>
              <a:defRPr sz="2333" b="0" baseline="0">
                <a:solidFill>
                  <a:schemeClr val="accent5"/>
                </a:solidFill>
              </a:defRPr>
            </a:lvl1pPr>
          </a:lstStyle>
          <a:p>
            <a:pPr lvl="0"/>
            <a:r>
              <a:rPr lang="en-US"/>
              <a:t>Subhead goes here</a:t>
            </a:r>
          </a:p>
        </p:txBody>
      </p:sp>
      <p:sp>
        <p:nvSpPr>
          <p:cNvPr id="26" name="Text Placeholder 9"/>
          <p:cNvSpPr>
            <a:spLocks noGrp="1"/>
          </p:cNvSpPr>
          <p:nvPr>
            <p:ph type="body" sz="quarter" idx="11" hasCustomPrompt="1"/>
          </p:nvPr>
        </p:nvSpPr>
        <p:spPr>
          <a:xfrm>
            <a:off x="443178" y="1427209"/>
            <a:ext cx="6262948" cy="529683"/>
          </a:xfrm>
        </p:spPr>
        <p:txBody>
          <a:bodyPr>
            <a:normAutofit/>
          </a:bodyPr>
          <a:lstStyle>
            <a:lvl1pPr>
              <a:defRPr sz="2000" b="0" i="1" baseline="0">
                <a:solidFill>
                  <a:schemeClr val="tx1"/>
                </a:solidFill>
              </a:defRPr>
            </a:lvl1pPr>
          </a:lstStyle>
          <a:p>
            <a:pPr lvl="0"/>
            <a:r>
              <a:rPr lang="en-US"/>
              <a:t>Click to edit text</a:t>
            </a:r>
          </a:p>
        </p:txBody>
      </p:sp>
      <p:sp>
        <p:nvSpPr>
          <p:cNvPr id="27" name="Content Placeholder 2"/>
          <p:cNvSpPr>
            <a:spLocks noGrp="1"/>
          </p:cNvSpPr>
          <p:nvPr>
            <p:ph idx="1" hasCustomPrompt="1"/>
          </p:nvPr>
        </p:nvSpPr>
        <p:spPr>
          <a:xfrm>
            <a:off x="649941" y="2045954"/>
            <a:ext cx="6144559" cy="4076323"/>
          </a:xfrm>
        </p:spPr>
        <p:txBody>
          <a:bodyPr>
            <a:normAutofit/>
          </a:bodyPr>
          <a:lstStyle>
            <a:lvl1pPr>
              <a:defRPr sz="2000" b="0">
                <a:solidFill>
                  <a:schemeClr val="tx1"/>
                </a:solidFill>
              </a:defRPr>
            </a:lvl1pPr>
            <a:lvl2pPr>
              <a:buClr>
                <a:schemeClr val="accent1"/>
              </a:buClr>
              <a:buSzPct val="100000"/>
              <a:defRPr sz="2000">
                <a:solidFill>
                  <a:schemeClr val="tx1"/>
                </a:solidFill>
              </a:defRPr>
            </a:lvl2pPr>
            <a:lvl3pPr marL="525177" indent="-238115">
              <a:buClr>
                <a:schemeClr val="accent1"/>
              </a:buClr>
              <a:buSzPct val="90000"/>
              <a:buFont typeface="Calibri" panose="020F0502020204030204" pitchFamily="34" charset="0"/>
              <a:buChar char="–"/>
              <a:defRPr sz="2000">
                <a:solidFill>
                  <a:schemeClr val="tx1"/>
                </a:solidFill>
              </a:defRPr>
            </a:lvl3pPr>
            <a:lvl4pPr marL="761970" indent="-227533">
              <a:buClr>
                <a:schemeClr val="accent1"/>
              </a:buClr>
              <a:buSzPct val="90000"/>
              <a:buFont typeface="Courier New" panose="02070309020205020404" pitchFamily="49" charset="0"/>
              <a:buChar char="o"/>
              <a:defRPr sz="2000">
                <a:solidFill>
                  <a:schemeClr val="tx1"/>
                </a:solidFill>
              </a:defRPr>
            </a:lvl4pPr>
            <a:lvl5pPr>
              <a:buClr>
                <a:schemeClr val="accent4"/>
              </a:buClr>
              <a:defRPr sz="20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7" name="Picture 1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7068" y="6436854"/>
            <a:ext cx="1591732" cy="240573"/>
          </a:xfrm>
          <a:prstGeom prst="rect">
            <a:avLst/>
          </a:prstGeom>
        </p:spPr>
      </p:pic>
    </p:spTree>
    <p:extLst>
      <p:ext uri="{BB962C8B-B14F-4D97-AF65-F5344CB8AC3E}">
        <p14:creationId xmlns:p14="http://schemas.microsoft.com/office/powerpoint/2010/main" val="170062682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cxnSp>
        <p:nvCxnSpPr>
          <p:cNvPr id="6" name="Straight Connector 5"/>
          <p:cNvCxnSpPr/>
          <p:nvPr userDrawn="1"/>
        </p:nvCxnSpPr>
        <p:spPr>
          <a:xfrm flipV="1">
            <a:off x="0" y="6241143"/>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a:xfrm>
            <a:off x="0" y="0"/>
            <a:ext cx="12192000" cy="845820"/>
          </a:xfrm>
          <a:prstGeom prst="rect">
            <a:avLst/>
          </a:prstGeom>
          <a:solidFill>
            <a:srgbClr val="1575A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1" name="Rectangle 10"/>
          <p:cNvSpPr/>
          <p:nvPr userDrawn="1"/>
        </p:nvSpPr>
        <p:spPr>
          <a:xfrm>
            <a:off x="6934200" y="8248"/>
            <a:ext cx="1752600" cy="599900"/>
          </a:xfrm>
          <a:prstGeom prst="rect">
            <a:avLst/>
          </a:prstGeom>
          <a:solidFill>
            <a:srgbClr val="008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2" name="Rectangle 11"/>
          <p:cNvSpPr/>
          <p:nvPr userDrawn="1"/>
        </p:nvSpPr>
        <p:spPr>
          <a:xfrm>
            <a:off x="5181600" y="608149"/>
            <a:ext cx="1752600" cy="246528"/>
          </a:xfrm>
          <a:prstGeom prst="rect">
            <a:avLst/>
          </a:prstGeom>
          <a:solidFill>
            <a:srgbClr val="008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cxnSp>
        <p:nvCxnSpPr>
          <p:cNvPr id="13" name="Straight Connector 12"/>
          <p:cNvCxnSpPr/>
          <p:nvPr userDrawn="1"/>
        </p:nvCxnSpPr>
        <p:spPr>
          <a:xfrm>
            <a:off x="6934200" y="608148"/>
            <a:ext cx="52578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6934200" y="0"/>
            <a:ext cx="0" cy="854676"/>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10450286" y="0"/>
            <a:ext cx="0" cy="854676"/>
          </a:xfrm>
          <a:prstGeom prst="line">
            <a:avLst/>
          </a:prstGeom>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442785" y="0"/>
            <a:ext cx="10911016" cy="854676"/>
          </a:xfrm>
        </p:spPr>
        <p:txBody>
          <a:bodyPr>
            <a:normAutofit/>
          </a:bodyPr>
          <a:lstStyle>
            <a:lvl1pPr>
              <a:defRPr sz="3000">
                <a:solidFill>
                  <a:schemeClr val="bg1"/>
                </a:solidFill>
              </a:defRPr>
            </a:lvl1pPr>
          </a:lstStyle>
          <a:p>
            <a:r>
              <a:rPr lang="en-US"/>
              <a:t>Click to edit Master title style</a:t>
            </a:r>
          </a:p>
        </p:txBody>
      </p:sp>
      <p:pic>
        <p:nvPicPr>
          <p:cNvPr id="17" name="Picture 1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7068" y="6436854"/>
            <a:ext cx="1591732" cy="240573"/>
          </a:xfrm>
          <a:prstGeom prst="rect">
            <a:avLst/>
          </a:prstGeom>
        </p:spPr>
      </p:pic>
      <p:sp>
        <p:nvSpPr>
          <p:cNvPr id="18" name="TextBox 17">
            <a:extLst>
              <a:ext uri="{FF2B5EF4-FFF2-40B4-BE49-F238E27FC236}">
                <a16:creationId xmlns:a16="http://schemas.microsoft.com/office/drawing/2014/main" id="{A14A78C2-1B33-4F7E-8CE7-82A8812B68AF}"/>
              </a:ext>
            </a:extLst>
          </p:cNvPr>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19" name="TextBox 18">
            <a:extLst>
              <a:ext uri="{FF2B5EF4-FFF2-40B4-BE49-F238E27FC236}">
                <a16:creationId xmlns:a16="http://schemas.microsoft.com/office/drawing/2014/main" id="{0148D52C-0722-4E5B-AA05-92D854D9C09B}"/>
              </a:ext>
            </a:extLst>
          </p:cNvPr>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spTree>
    <p:extLst>
      <p:ext uri="{BB962C8B-B14F-4D97-AF65-F5344CB8AC3E}">
        <p14:creationId xmlns:p14="http://schemas.microsoft.com/office/powerpoint/2010/main" val="10968093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extBox 2"/>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4" name="TextBox 3"/>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cxnSp>
        <p:nvCxnSpPr>
          <p:cNvPr id="6" name="Straight Connector 5"/>
          <p:cNvCxnSpPr/>
          <p:nvPr userDrawn="1"/>
        </p:nvCxnSpPr>
        <p:spPr>
          <a:xfrm flipV="1">
            <a:off x="0" y="6241143"/>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 name="Title 1"/>
          <p:cNvSpPr>
            <a:spLocks noGrp="1"/>
          </p:cNvSpPr>
          <p:nvPr>
            <p:ph type="title"/>
          </p:nvPr>
        </p:nvSpPr>
        <p:spPr>
          <a:xfrm>
            <a:off x="710514" y="669324"/>
            <a:ext cx="6209271" cy="2090352"/>
          </a:xfrm>
        </p:spPr>
        <p:txBody>
          <a:bodyPr anchor="b">
            <a:normAutofit/>
          </a:bodyPr>
          <a:lstStyle>
            <a:lvl1pPr>
              <a:defRPr sz="2333" b="0" i="1">
                <a:solidFill>
                  <a:schemeClr val="accent2"/>
                </a:solidFill>
              </a:defRPr>
            </a:lvl1pPr>
          </a:lstStyle>
          <a:p>
            <a:r>
              <a:rPr lang="en-US"/>
              <a:t>Click to edit Master title style</a:t>
            </a:r>
          </a:p>
        </p:txBody>
      </p:sp>
      <p:sp>
        <p:nvSpPr>
          <p:cNvPr id="8" name="Text Placeholder 9"/>
          <p:cNvSpPr>
            <a:spLocks noGrp="1"/>
          </p:cNvSpPr>
          <p:nvPr>
            <p:ph type="body" sz="quarter" idx="10" hasCustomPrompt="1"/>
          </p:nvPr>
        </p:nvSpPr>
        <p:spPr>
          <a:xfrm>
            <a:off x="838729" y="3335896"/>
            <a:ext cx="6081448" cy="278456"/>
          </a:xfrm>
        </p:spPr>
        <p:txBody>
          <a:bodyPr/>
          <a:lstStyle>
            <a:lvl1pPr>
              <a:defRPr sz="2000" b="0">
                <a:solidFill>
                  <a:schemeClr val="accent2"/>
                </a:solidFill>
              </a:defRPr>
            </a:lvl1pPr>
            <a:lvl2pPr marL="0" indent="0">
              <a:buNone/>
              <a:defRPr sz="2000">
                <a:solidFill>
                  <a:schemeClr val="accent2"/>
                </a:solidFill>
              </a:defRPr>
            </a:lvl2pPr>
          </a:lstStyle>
          <a:p>
            <a:pPr lvl="0"/>
            <a:r>
              <a:rPr lang="en-US"/>
              <a:t>First Last Name</a:t>
            </a:r>
          </a:p>
          <a:p>
            <a:pPr lvl="1"/>
            <a:endParaRPr lang="en-US"/>
          </a:p>
        </p:txBody>
      </p:sp>
      <p:sp>
        <p:nvSpPr>
          <p:cNvPr id="9" name="Text Placeholder 9"/>
          <p:cNvSpPr>
            <a:spLocks noGrp="1"/>
          </p:cNvSpPr>
          <p:nvPr>
            <p:ph type="body" sz="quarter" idx="11" hasCustomPrompt="1"/>
          </p:nvPr>
        </p:nvSpPr>
        <p:spPr>
          <a:xfrm>
            <a:off x="838729" y="3634518"/>
            <a:ext cx="6081448" cy="278456"/>
          </a:xfrm>
        </p:spPr>
        <p:txBody>
          <a:bodyPr>
            <a:noAutofit/>
          </a:bodyPr>
          <a:lstStyle>
            <a:lvl1pPr>
              <a:defRPr sz="2000" b="0">
                <a:solidFill>
                  <a:schemeClr val="accent2"/>
                </a:solidFill>
              </a:defRPr>
            </a:lvl1pPr>
            <a:lvl2pPr marL="0" indent="0">
              <a:buNone/>
              <a:defRPr sz="2000">
                <a:solidFill>
                  <a:schemeClr val="accent2"/>
                </a:solidFill>
              </a:defRPr>
            </a:lvl2pPr>
          </a:lstStyle>
          <a:p>
            <a:pPr lvl="0"/>
            <a:r>
              <a:rPr lang="en-US"/>
              <a:t>Title, Company</a:t>
            </a:r>
          </a:p>
          <a:p>
            <a:pPr lvl="1"/>
            <a:endParaRPr lang="en-US"/>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7068" y="6436854"/>
            <a:ext cx="1591732" cy="240573"/>
          </a:xfrm>
          <a:prstGeom prst="rect">
            <a:avLst/>
          </a:prstGeom>
        </p:spPr>
      </p:pic>
    </p:spTree>
    <p:extLst>
      <p:ext uri="{BB962C8B-B14F-4D97-AF65-F5344CB8AC3E}">
        <p14:creationId xmlns:p14="http://schemas.microsoft.com/office/powerpoint/2010/main" val="237347633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ain Section ">
    <p:spTree>
      <p:nvGrpSpPr>
        <p:cNvPr id="1" name=""/>
        <p:cNvGrpSpPr/>
        <p:nvPr/>
      </p:nvGrpSpPr>
      <p:grpSpPr>
        <a:xfrm>
          <a:off x="0" y="0"/>
          <a:ext cx="0" cy="0"/>
          <a:chOff x="0" y="0"/>
          <a:chExt cx="0" cy="0"/>
        </a:xfrm>
      </p:grpSpPr>
      <p:sp>
        <p:nvSpPr>
          <p:cNvPr id="4" name="TextBox 3"/>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5" name="TextBox 4"/>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cxnSp>
        <p:nvCxnSpPr>
          <p:cNvPr id="7" name="Straight Connector 6"/>
          <p:cNvCxnSpPr/>
          <p:nvPr userDrawn="1"/>
        </p:nvCxnSpPr>
        <p:spPr>
          <a:xfrm flipV="1">
            <a:off x="0" y="6241143"/>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5949248" cy="6347534"/>
          </a:xfrm>
          <a:prstGeom prst="rect">
            <a:avLst/>
          </a:prstGeom>
        </p:spPr>
      </p:pic>
      <p:sp>
        <p:nvSpPr>
          <p:cNvPr id="13" name="Title 1"/>
          <p:cNvSpPr>
            <a:spLocks noGrp="1"/>
          </p:cNvSpPr>
          <p:nvPr>
            <p:ph type="title" hasCustomPrompt="1"/>
          </p:nvPr>
        </p:nvSpPr>
        <p:spPr>
          <a:xfrm>
            <a:off x="3798627" y="2297466"/>
            <a:ext cx="7026688" cy="1752600"/>
          </a:xfrm>
        </p:spPr>
        <p:txBody>
          <a:bodyPr anchor="ctr">
            <a:noAutofit/>
          </a:bodyPr>
          <a:lstStyle>
            <a:lvl1pPr>
              <a:defRPr sz="6000" b="1">
                <a:solidFill>
                  <a:schemeClr val="accent2"/>
                </a:solidFill>
              </a:defRPr>
            </a:lvl1pPr>
          </a:lstStyle>
          <a:p>
            <a:r>
              <a:rPr lang="en-US"/>
              <a:t>Click to edit Section Header</a:t>
            </a:r>
          </a:p>
        </p:txBody>
      </p:sp>
      <p:pic>
        <p:nvPicPr>
          <p:cNvPr id="11" name="Pictur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37068" y="6436854"/>
            <a:ext cx="1591732" cy="240573"/>
          </a:xfrm>
          <a:prstGeom prst="rect">
            <a:avLst/>
          </a:prstGeom>
        </p:spPr>
      </p:pic>
    </p:spTree>
    <p:extLst>
      <p:ext uri="{BB962C8B-B14F-4D97-AF65-F5344CB8AC3E}">
        <p14:creationId xmlns:p14="http://schemas.microsoft.com/office/powerpoint/2010/main" val="30296204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lide - Header +  Lis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BB293F16-4B91-744F-88B6-BAD6D5DACB7E}"/>
              </a:ext>
            </a:extLst>
          </p:cNvPr>
          <p:cNvCxnSpPr>
            <a:cxnSpLocks/>
          </p:cNvCxnSpPr>
          <p:nvPr/>
        </p:nvCxnSpPr>
        <p:spPr>
          <a:xfrm>
            <a:off x="515073" y="1249680"/>
            <a:ext cx="11676927" cy="0"/>
          </a:xfrm>
          <a:prstGeom prst="line">
            <a:avLst/>
          </a:prstGeom>
          <a:ln w="50800" cap="flat" cmpd="sng">
            <a:solidFill>
              <a:srgbClr val="649A3D"/>
            </a:solidFill>
            <a:prstDash val="solid"/>
          </a:ln>
        </p:spPr>
        <p:style>
          <a:lnRef idx="1">
            <a:schemeClr val="accent1"/>
          </a:lnRef>
          <a:fillRef idx="0">
            <a:schemeClr val="accent1"/>
          </a:fillRef>
          <a:effectRef idx="0">
            <a:schemeClr val="accent1"/>
          </a:effectRef>
          <a:fontRef idx="minor">
            <a:schemeClr val="tx1"/>
          </a:fontRef>
        </p:style>
      </p:cxnSp>
      <p:sp>
        <p:nvSpPr>
          <p:cNvPr id="11" name="Footer Placeholder 10">
            <a:extLst>
              <a:ext uri="{FF2B5EF4-FFF2-40B4-BE49-F238E27FC236}">
                <a16:creationId xmlns:a16="http://schemas.microsoft.com/office/drawing/2014/main" id="{6FF21474-13EE-6949-8C43-A8ACB802592F}"/>
              </a:ext>
            </a:extLst>
          </p:cNvPr>
          <p:cNvSpPr>
            <a:spLocks noGrp="1"/>
          </p:cNvSpPr>
          <p:nvPr>
            <p:ph type="ftr" sz="quarter" idx="10"/>
          </p:nvPr>
        </p:nvSpPr>
        <p:spPr/>
        <p:txBody>
          <a:bodyPr/>
          <a:lstStyle/>
          <a:p>
            <a:endParaRPr lang="en-US"/>
          </a:p>
        </p:txBody>
      </p:sp>
      <p:sp>
        <p:nvSpPr>
          <p:cNvPr id="18" name="Title 17">
            <a:extLst>
              <a:ext uri="{FF2B5EF4-FFF2-40B4-BE49-F238E27FC236}">
                <a16:creationId xmlns:a16="http://schemas.microsoft.com/office/drawing/2014/main" id="{3137C509-23DE-F744-AF70-A8AAA29BDABE}"/>
              </a:ext>
            </a:extLst>
          </p:cNvPr>
          <p:cNvSpPr>
            <a:spLocks noGrp="1"/>
          </p:cNvSpPr>
          <p:nvPr>
            <p:ph type="title"/>
          </p:nvPr>
        </p:nvSpPr>
        <p:spPr>
          <a:xfrm>
            <a:off x="421532" y="295156"/>
            <a:ext cx="11324083" cy="89703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03EFC99F-7548-5648-8AC9-34C04A5FE6A4}"/>
              </a:ext>
            </a:extLst>
          </p:cNvPr>
          <p:cNvSpPr>
            <a:spLocks noGrp="1"/>
          </p:cNvSpPr>
          <p:nvPr>
            <p:ph sz="quarter" idx="13"/>
          </p:nvPr>
        </p:nvSpPr>
        <p:spPr>
          <a:xfrm>
            <a:off x="421531" y="1489828"/>
            <a:ext cx="11324083" cy="47969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5074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ub Section">
    <p:spTree>
      <p:nvGrpSpPr>
        <p:cNvPr id="1" name=""/>
        <p:cNvGrpSpPr/>
        <p:nvPr/>
      </p:nvGrpSpPr>
      <p:grpSpPr>
        <a:xfrm>
          <a:off x="0" y="0"/>
          <a:ext cx="0" cy="0"/>
          <a:chOff x="0" y="0"/>
          <a:chExt cx="0" cy="0"/>
        </a:xfrm>
      </p:grpSpPr>
      <p:sp>
        <p:nvSpPr>
          <p:cNvPr id="3" name="Rectangle 2"/>
          <p:cNvSpPr/>
          <p:nvPr userDrawn="1"/>
        </p:nvSpPr>
        <p:spPr>
          <a:xfrm>
            <a:off x="0" y="1333499"/>
            <a:ext cx="12192000" cy="243114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Box 3"/>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5" name="TextBox 4"/>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sp>
        <p:nvSpPr>
          <p:cNvPr id="7" name="Rectangle 6"/>
          <p:cNvSpPr/>
          <p:nvPr userDrawn="1"/>
        </p:nvSpPr>
        <p:spPr>
          <a:xfrm>
            <a:off x="5234215" y="2113643"/>
            <a:ext cx="1750786" cy="1651000"/>
          </a:xfrm>
          <a:prstGeom prst="rect">
            <a:avLst/>
          </a:prstGeom>
          <a:solidFill>
            <a:srgbClr val="0083A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8" name="Rectangle 7"/>
          <p:cNvSpPr/>
          <p:nvPr userDrawn="1"/>
        </p:nvSpPr>
        <p:spPr>
          <a:xfrm>
            <a:off x="6985000" y="1351642"/>
            <a:ext cx="1750786" cy="771072"/>
          </a:xfrm>
          <a:prstGeom prst="rect">
            <a:avLst/>
          </a:prstGeom>
          <a:solidFill>
            <a:srgbClr val="0083A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cxnSp>
        <p:nvCxnSpPr>
          <p:cNvPr id="9" name="Straight Connector 8"/>
          <p:cNvCxnSpPr/>
          <p:nvPr userDrawn="1"/>
        </p:nvCxnSpPr>
        <p:spPr>
          <a:xfrm>
            <a:off x="0" y="2122714"/>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755822" y="2193324"/>
            <a:ext cx="11157303" cy="556054"/>
          </a:xfrm>
        </p:spPr>
        <p:txBody>
          <a:bodyPr anchor="ctr">
            <a:noAutofit/>
          </a:bodyPr>
          <a:lstStyle>
            <a:lvl1pPr>
              <a:defRPr sz="5000" b="1">
                <a:solidFill>
                  <a:schemeClr val="bg1"/>
                </a:solidFill>
              </a:defRPr>
            </a:lvl1pPr>
          </a:lstStyle>
          <a:p>
            <a:r>
              <a:rPr lang="en-US"/>
              <a:t>Click to edit Section Header</a:t>
            </a:r>
          </a:p>
        </p:txBody>
      </p:sp>
      <p:cxnSp>
        <p:nvCxnSpPr>
          <p:cNvPr id="11" name="Straight Connector 10"/>
          <p:cNvCxnSpPr/>
          <p:nvPr userDrawn="1"/>
        </p:nvCxnSpPr>
        <p:spPr>
          <a:xfrm>
            <a:off x="10468428" y="1333499"/>
            <a:ext cx="0" cy="2430780"/>
          </a:xfrm>
          <a:prstGeom prst="line">
            <a:avLst/>
          </a:prstGeom>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7068" y="6436854"/>
            <a:ext cx="1591732" cy="240573"/>
          </a:xfrm>
          <a:prstGeom prst="rect">
            <a:avLst/>
          </a:prstGeom>
        </p:spPr>
      </p:pic>
    </p:spTree>
    <p:extLst>
      <p:ext uri="{BB962C8B-B14F-4D97-AF65-F5344CB8AC3E}">
        <p14:creationId xmlns:p14="http://schemas.microsoft.com/office/powerpoint/2010/main" val="752891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al Background">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442785" y="0"/>
            <a:ext cx="10911016" cy="854676"/>
          </a:xfrm>
        </p:spPr>
        <p:txBody>
          <a:bodyPr>
            <a:normAutofit/>
          </a:bodyPr>
          <a:lstStyle>
            <a:lvl1pPr>
              <a:defRPr sz="3000">
                <a:solidFill>
                  <a:schemeClr val="bg1"/>
                </a:solidFill>
              </a:defRPr>
            </a:lvl1pPr>
          </a:lstStyle>
          <a:p>
            <a:r>
              <a:rPr lang="en-US"/>
              <a:t>Click to edit Master title style</a:t>
            </a:r>
          </a:p>
        </p:txBody>
      </p:sp>
      <p:sp>
        <p:nvSpPr>
          <p:cNvPr id="5" name="TextBox 4"/>
          <p:cNvSpPr txBox="1"/>
          <p:nvPr userDrawn="1"/>
        </p:nvSpPr>
        <p:spPr>
          <a:xfrm>
            <a:off x="8997027" y="6414935"/>
            <a:ext cx="2741456" cy="246221"/>
          </a:xfrm>
          <a:prstGeom prst="rect">
            <a:avLst/>
          </a:prstGeom>
          <a:noFill/>
        </p:spPr>
        <p:txBody>
          <a:bodyPr wrap="none" rtlCol="0">
            <a:spAutoFit/>
          </a:bodyPr>
          <a:lstStyle/>
          <a:p>
            <a:r>
              <a:rPr lang="en-US" sz="1000">
                <a:solidFill>
                  <a:schemeClr val="bg1"/>
                </a:solidFill>
              </a:rPr>
              <a:t>Confidential | ©2003-2021 Force Management |</a:t>
            </a:r>
          </a:p>
        </p:txBody>
      </p:sp>
      <p:sp>
        <p:nvSpPr>
          <p:cNvPr id="8" name="TextBox 7"/>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chemeClr val="bg1"/>
                </a:solidFill>
              </a:rPr>
              <a:pPr/>
              <a:t>‹#›</a:t>
            </a:fld>
            <a:endParaRPr lang="en-US" sz="1000" b="1">
              <a:solidFill>
                <a:schemeClr val="bg1"/>
              </a:solidFill>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6220" y="6433425"/>
            <a:ext cx="1584960" cy="239550"/>
          </a:xfrm>
          <a:prstGeom prst="rect">
            <a:avLst/>
          </a:prstGeom>
        </p:spPr>
      </p:pic>
    </p:spTree>
    <p:extLst>
      <p:ext uri="{BB962C8B-B14F-4D97-AF65-F5344CB8AC3E}">
        <p14:creationId xmlns:p14="http://schemas.microsoft.com/office/powerpoint/2010/main" val="23789988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ue Background">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442785" y="0"/>
            <a:ext cx="10911016" cy="854676"/>
          </a:xfrm>
        </p:spPr>
        <p:txBody>
          <a:bodyPr>
            <a:normAutofit/>
          </a:bodyPr>
          <a:lstStyle>
            <a:lvl1pPr>
              <a:defRPr sz="3000">
                <a:solidFill>
                  <a:schemeClr val="bg1"/>
                </a:solidFill>
              </a:defRPr>
            </a:lvl1pPr>
          </a:lstStyle>
          <a:p>
            <a:r>
              <a:rPr lang="en-US"/>
              <a:t>Click to edit Master title style</a:t>
            </a:r>
          </a:p>
        </p:txBody>
      </p:sp>
      <p:sp>
        <p:nvSpPr>
          <p:cNvPr id="5" name="TextBox 4"/>
          <p:cNvSpPr txBox="1"/>
          <p:nvPr userDrawn="1"/>
        </p:nvSpPr>
        <p:spPr>
          <a:xfrm>
            <a:off x="8997027" y="6414935"/>
            <a:ext cx="2741456" cy="246221"/>
          </a:xfrm>
          <a:prstGeom prst="rect">
            <a:avLst/>
          </a:prstGeom>
          <a:noFill/>
        </p:spPr>
        <p:txBody>
          <a:bodyPr wrap="none" rtlCol="0">
            <a:spAutoFit/>
          </a:bodyPr>
          <a:lstStyle/>
          <a:p>
            <a:r>
              <a:rPr lang="en-US" sz="1000">
                <a:solidFill>
                  <a:schemeClr val="bg1"/>
                </a:solidFill>
              </a:rPr>
              <a:t>Confidential | ©2003-2021 Force Management |</a:t>
            </a:r>
          </a:p>
        </p:txBody>
      </p:sp>
      <p:sp>
        <p:nvSpPr>
          <p:cNvPr id="8" name="TextBox 7"/>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chemeClr val="bg1"/>
                </a:solidFill>
              </a:rPr>
              <a:pPr/>
              <a:t>‹#›</a:t>
            </a:fld>
            <a:endParaRPr lang="en-US" sz="1000" b="1">
              <a:solidFill>
                <a:schemeClr val="bg1"/>
              </a:solidFill>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6220" y="6433425"/>
            <a:ext cx="1584960" cy="239550"/>
          </a:xfrm>
          <a:prstGeom prst="rect">
            <a:avLst/>
          </a:prstGeom>
        </p:spPr>
      </p:pic>
    </p:spTree>
    <p:extLst>
      <p:ext uri="{BB962C8B-B14F-4D97-AF65-F5344CB8AC3E}">
        <p14:creationId xmlns:p14="http://schemas.microsoft.com/office/powerpoint/2010/main" val="27898228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extBox 1"/>
          <p:cNvSpPr txBox="1"/>
          <p:nvPr userDrawn="1"/>
        </p:nvSpPr>
        <p:spPr>
          <a:xfrm>
            <a:off x="8997027" y="6414935"/>
            <a:ext cx="2741456" cy="246221"/>
          </a:xfrm>
          <a:prstGeom prst="rect">
            <a:avLst/>
          </a:prstGeom>
          <a:noFill/>
        </p:spPr>
        <p:txBody>
          <a:bodyPr wrap="none" rtlCol="0">
            <a:spAutoFit/>
          </a:bodyPr>
          <a:lstStyle/>
          <a:p>
            <a:r>
              <a:rPr lang="en-US" sz="1000">
                <a:solidFill>
                  <a:srgbClr val="55565A"/>
                </a:solidFill>
              </a:rPr>
              <a:t>Confidential | ©2003-2021 Force Management |</a:t>
            </a:r>
          </a:p>
        </p:txBody>
      </p:sp>
      <p:sp>
        <p:nvSpPr>
          <p:cNvPr id="3" name="TextBox 2"/>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pPr/>
              <a:t>‹#›</a:t>
            </a:fld>
            <a:endParaRPr lang="en-US" sz="1000" b="1">
              <a:solidFill>
                <a:srgbClr val="55565A"/>
              </a:solidFill>
            </a:endParaRPr>
          </a:p>
        </p:txBody>
      </p:sp>
    </p:spTree>
    <p:extLst>
      <p:ext uri="{BB962C8B-B14F-4D97-AF65-F5344CB8AC3E}">
        <p14:creationId xmlns:p14="http://schemas.microsoft.com/office/powerpoint/2010/main" val="4527637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4" name="TextBox 3"/>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5" name="TextBox 4"/>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cxnSp>
        <p:nvCxnSpPr>
          <p:cNvPr id="7" name="Straight Connector 6"/>
          <p:cNvCxnSpPr/>
          <p:nvPr userDrawn="1"/>
        </p:nvCxnSpPr>
        <p:spPr>
          <a:xfrm flipV="1">
            <a:off x="0" y="6241143"/>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5949248" cy="6347534"/>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37068" y="6436854"/>
            <a:ext cx="1591732" cy="240573"/>
          </a:xfrm>
          <a:prstGeom prst="rect">
            <a:avLst/>
          </a:prstGeom>
        </p:spPr>
      </p:pic>
      <p:sp>
        <p:nvSpPr>
          <p:cNvPr id="9" name="TextBox 8"/>
          <p:cNvSpPr txBox="1"/>
          <p:nvPr userDrawn="1"/>
        </p:nvSpPr>
        <p:spPr>
          <a:xfrm>
            <a:off x="5766441" y="2587649"/>
            <a:ext cx="4879338" cy="721512"/>
          </a:xfrm>
          <a:prstGeom prst="rect">
            <a:avLst/>
          </a:prstGeom>
          <a:noFill/>
        </p:spPr>
        <p:txBody>
          <a:bodyPr wrap="square" rtlCol="0" anchor="ctr">
            <a:noAutofit/>
          </a:bodyPr>
          <a:lstStyle/>
          <a:p>
            <a:pPr>
              <a:lnSpc>
                <a:spcPct val="90000"/>
              </a:lnSpc>
              <a:buClr>
                <a:srgbClr val="C4D600"/>
              </a:buClr>
            </a:pPr>
            <a:r>
              <a:rPr lang="en-US" sz="2333">
                <a:solidFill>
                  <a:schemeClr val="accent6">
                    <a:lumMod val="75000"/>
                  </a:schemeClr>
                </a:solidFill>
              </a:rPr>
              <a:t>Social | Podcasts | Sales Insights Blog</a:t>
            </a:r>
          </a:p>
        </p:txBody>
      </p:sp>
      <p:sp>
        <p:nvSpPr>
          <p:cNvPr id="10" name="TextBox 9"/>
          <p:cNvSpPr txBox="1"/>
          <p:nvPr userDrawn="1"/>
        </p:nvSpPr>
        <p:spPr>
          <a:xfrm>
            <a:off x="5766441" y="3472774"/>
            <a:ext cx="4388115" cy="719994"/>
          </a:xfrm>
          <a:prstGeom prst="rect">
            <a:avLst/>
          </a:prstGeom>
          <a:noFill/>
        </p:spPr>
        <p:txBody>
          <a:bodyPr wrap="square" rtlCol="0" anchor="ctr">
            <a:noAutofit/>
          </a:bodyPr>
          <a:lstStyle/>
          <a:p>
            <a:pPr>
              <a:lnSpc>
                <a:spcPct val="90000"/>
              </a:lnSpc>
              <a:buClr>
                <a:srgbClr val="C4D600"/>
              </a:buClr>
            </a:pPr>
            <a:r>
              <a:rPr lang="en-US" sz="2333" b="1" err="1">
                <a:solidFill>
                  <a:schemeClr val="tx2"/>
                </a:solidFill>
              </a:rPr>
              <a:t>forcemanagement.com</a:t>
            </a:r>
            <a:r>
              <a:rPr lang="en-US" sz="2333" b="1">
                <a:solidFill>
                  <a:schemeClr val="tx2"/>
                </a:solidFill>
              </a:rPr>
              <a:t>/connect</a:t>
            </a:r>
          </a:p>
        </p:txBody>
      </p:sp>
      <p:sp>
        <p:nvSpPr>
          <p:cNvPr id="12" name="TextBox 11"/>
          <p:cNvSpPr txBox="1"/>
          <p:nvPr userDrawn="1"/>
        </p:nvSpPr>
        <p:spPr>
          <a:xfrm>
            <a:off x="5766441" y="4866313"/>
            <a:ext cx="2804103" cy="552178"/>
          </a:xfrm>
          <a:prstGeom prst="rect">
            <a:avLst/>
          </a:prstGeom>
          <a:noFill/>
        </p:spPr>
        <p:txBody>
          <a:bodyPr wrap="square" rtlCol="0" anchor="ctr">
            <a:noAutofit/>
          </a:bodyPr>
          <a:lstStyle/>
          <a:p>
            <a:pPr>
              <a:lnSpc>
                <a:spcPct val="90000"/>
              </a:lnSpc>
              <a:buClr>
                <a:srgbClr val="C4D600"/>
              </a:buClr>
            </a:pPr>
            <a:r>
              <a:rPr lang="en-US" sz="2333" b="1">
                <a:solidFill>
                  <a:schemeClr val="tx2"/>
                </a:solidFill>
              </a:rPr>
              <a:t>@</a:t>
            </a:r>
            <a:r>
              <a:rPr lang="en-US" sz="2333" b="1" err="1">
                <a:solidFill>
                  <a:schemeClr val="tx2"/>
                </a:solidFill>
              </a:rPr>
              <a:t>forcemgmt</a:t>
            </a:r>
            <a:endParaRPr lang="en-US" sz="2333" b="1">
              <a:solidFill>
                <a:schemeClr val="tx2"/>
              </a:solidFill>
            </a:endParaRPr>
          </a:p>
        </p:txBody>
      </p:sp>
      <p:sp>
        <p:nvSpPr>
          <p:cNvPr id="14" name="Freeform 13"/>
          <p:cNvSpPr>
            <a:spLocks noEditPoints="1"/>
          </p:cNvSpPr>
          <p:nvPr userDrawn="1"/>
        </p:nvSpPr>
        <p:spPr bwMode="auto">
          <a:xfrm>
            <a:off x="7097889" y="4411997"/>
            <a:ext cx="391647" cy="391647"/>
          </a:xfrm>
          <a:custGeom>
            <a:avLst/>
            <a:gdLst>
              <a:gd name="T0" fmla="*/ 1 w 1200"/>
              <a:gd name="T1" fmla="*/ 646 h 1200"/>
              <a:gd name="T2" fmla="*/ 0 w 1200"/>
              <a:gd name="T3" fmla="*/ 622 h 1200"/>
              <a:gd name="T4" fmla="*/ 600 w 1200"/>
              <a:gd name="T5" fmla="*/ 0 h 1200"/>
              <a:gd name="T6" fmla="*/ 1200 w 1200"/>
              <a:gd name="T7" fmla="*/ 622 h 1200"/>
              <a:gd name="T8" fmla="*/ 1198 w 1200"/>
              <a:gd name="T9" fmla="*/ 646 h 1200"/>
              <a:gd name="T10" fmla="*/ 600 w 1200"/>
              <a:gd name="T11" fmla="*/ 48 h 1200"/>
              <a:gd name="T12" fmla="*/ 1 w 1200"/>
              <a:gd name="T13" fmla="*/ 646 h 1200"/>
              <a:gd name="T14" fmla="*/ 600 w 1200"/>
              <a:gd name="T15" fmla="*/ 275 h 1200"/>
              <a:gd name="T16" fmla="*/ 979 w 1200"/>
              <a:gd name="T17" fmla="*/ 645 h 1200"/>
              <a:gd name="T18" fmla="*/ 980 w 1200"/>
              <a:gd name="T19" fmla="*/ 621 h 1200"/>
              <a:gd name="T20" fmla="*/ 600 w 1200"/>
              <a:gd name="T21" fmla="*/ 227 h 1200"/>
              <a:gd name="T22" fmla="*/ 219 w 1200"/>
              <a:gd name="T23" fmla="*/ 621 h 1200"/>
              <a:gd name="T24" fmla="*/ 221 w 1200"/>
              <a:gd name="T25" fmla="*/ 645 h 1200"/>
              <a:gd name="T26" fmla="*/ 600 w 1200"/>
              <a:gd name="T27" fmla="*/ 275 h 1200"/>
              <a:gd name="T28" fmla="*/ 600 w 1200"/>
              <a:gd name="T29" fmla="*/ 390 h 1200"/>
              <a:gd name="T30" fmla="*/ 475 w 1200"/>
              <a:gd name="T31" fmla="*/ 519 h 1200"/>
              <a:gd name="T32" fmla="*/ 600 w 1200"/>
              <a:gd name="T33" fmla="*/ 648 h 1200"/>
              <a:gd name="T34" fmla="*/ 724 w 1200"/>
              <a:gd name="T35" fmla="*/ 519 h 1200"/>
              <a:gd name="T36" fmla="*/ 600 w 1200"/>
              <a:gd name="T37" fmla="*/ 390 h 1200"/>
              <a:gd name="T38" fmla="*/ 600 w 1200"/>
              <a:gd name="T39" fmla="*/ 659 h 1200"/>
              <a:gd name="T40" fmla="*/ 418 w 1200"/>
              <a:gd name="T41" fmla="*/ 855 h 1200"/>
              <a:gd name="T42" fmla="*/ 600 w 1200"/>
              <a:gd name="T43" fmla="*/ 1200 h 1200"/>
              <a:gd name="T44" fmla="*/ 781 w 1200"/>
              <a:gd name="T45" fmla="*/ 855 h 1200"/>
              <a:gd name="T46" fmla="*/ 600 w 1200"/>
              <a:gd name="T47" fmla="*/ 659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0" h="1200">
                <a:moveTo>
                  <a:pt x="1" y="646"/>
                </a:moveTo>
                <a:cubicBezTo>
                  <a:pt x="1" y="638"/>
                  <a:pt x="0" y="630"/>
                  <a:pt x="0" y="622"/>
                </a:cubicBezTo>
                <a:cubicBezTo>
                  <a:pt x="0" y="278"/>
                  <a:pt x="268" y="0"/>
                  <a:pt x="600" y="0"/>
                </a:cubicBezTo>
                <a:cubicBezTo>
                  <a:pt x="931" y="0"/>
                  <a:pt x="1200" y="278"/>
                  <a:pt x="1200" y="622"/>
                </a:cubicBezTo>
                <a:cubicBezTo>
                  <a:pt x="1200" y="630"/>
                  <a:pt x="1199" y="638"/>
                  <a:pt x="1198" y="646"/>
                </a:cubicBezTo>
                <a:cubicBezTo>
                  <a:pt x="1186" y="314"/>
                  <a:pt x="923" y="48"/>
                  <a:pt x="600" y="48"/>
                </a:cubicBezTo>
                <a:cubicBezTo>
                  <a:pt x="276" y="48"/>
                  <a:pt x="13" y="314"/>
                  <a:pt x="1" y="646"/>
                </a:cubicBezTo>
                <a:moveTo>
                  <a:pt x="600" y="275"/>
                </a:moveTo>
                <a:cubicBezTo>
                  <a:pt x="802" y="275"/>
                  <a:pt x="967" y="439"/>
                  <a:pt x="979" y="645"/>
                </a:cubicBezTo>
                <a:cubicBezTo>
                  <a:pt x="979" y="637"/>
                  <a:pt x="980" y="629"/>
                  <a:pt x="980" y="621"/>
                </a:cubicBezTo>
                <a:cubicBezTo>
                  <a:pt x="980" y="403"/>
                  <a:pt x="810" y="227"/>
                  <a:pt x="600" y="227"/>
                </a:cubicBezTo>
                <a:cubicBezTo>
                  <a:pt x="390" y="227"/>
                  <a:pt x="219" y="403"/>
                  <a:pt x="219" y="621"/>
                </a:cubicBezTo>
                <a:cubicBezTo>
                  <a:pt x="219" y="629"/>
                  <a:pt x="220" y="637"/>
                  <a:pt x="221" y="645"/>
                </a:cubicBezTo>
                <a:cubicBezTo>
                  <a:pt x="233" y="439"/>
                  <a:pt x="397" y="275"/>
                  <a:pt x="600" y="275"/>
                </a:cubicBezTo>
                <a:moveTo>
                  <a:pt x="600" y="390"/>
                </a:moveTo>
                <a:cubicBezTo>
                  <a:pt x="531" y="390"/>
                  <a:pt x="475" y="448"/>
                  <a:pt x="475" y="519"/>
                </a:cubicBezTo>
                <a:cubicBezTo>
                  <a:pt x="475" y="591"/>
                  <a:pt x="531" y="648"/>
                  <a:pt x="600" y="648"/>
                </a:cubicBezTo>
                <a:cubicBezTo>
                  <a:pt x="668" y="648"/>
                  <a:pt x="724" y="591"/>
                  <a:pt x="724" y="519"/>
                </a:cubicBezTo>
                <a:cubicBezTo>
                  <a:pt x="724" y="448"/>
                  <a:pt x="668" y="390"/>
                  <a:pt x="600" y="390"/>
                </a:cubicBezTo>
                <a:moveTo>
                  <a:pt x="600" y="659"/>
                </a:moveTo>
                <a:cubicBezTo>
                  <a:pt x="499" y="659"/>
                  <a:pt x="418" y="665"/>
                  <a:pt x="418" y="855"/>
                </a:cubicBezTo>
                <a:cubicBezTo>
                  <a:pt x="418" y="1045"/>
                  <a:pt x="499" y="1200"/>
                  <a:pt x="600" y="1200"/>
                </a:cubicBezTo>
                <a:cubicBezTo>
                  <a:pt x="700" y="1200"/>
                  <a:pt x="781" y="1045"/>
                  <a:pt x="781" y="855"/>
                </a:cubicBezTo>
                <a:cubicBezTo>
                  <a:pt x="781" y="665"/>
                  <a:pt x="700" y="659"/>
                  <a:pt x="600" y="659"/>
                </a:cubicBezTo>
              </a:path>
            </a:pathLst>
          </a:custGeom>
          <a:solidFill>
            <a:schemeClr val="tx2"/>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th-TH" sz="1500">
              <a:solidFill>
                <a:srgbClr val="0574A7"/>
              </a:solidFill>
            </a:endParaRPr>
          </a:p>
        </p:txBody>
      </p:sp>
      <p:grpSp>
        <p:nvGrpSpPr>
          <p:cNvPr id="15" name="Group 14"/>
          <p:cNvGrpSpPr>
            <a:grpSpLocks noChangeAspect="1"/>
          </p:cNvGrpSpPr>
          <p:nvPr userDrawn="1"/>
        </p:nvGrpSpPr>
        <p:grpSpPr bwMode="auto">
          <a:xfrm>
            <a:off x="6461636" y="4467240"/>
            <a:ext cx="281505" cy="281162"/>
            <a:chOff x="2057" y="1280"/>
            <a:chExt cx="1636" cy="1634"/>
          </a:xfrm>
          <a:solidFill>
            <a:srgbClr val="97C000"/>
          </a:solidFill>
        </p:grpSpPr>
        <p:sp>
          <p:nvSpPr>
            <p:cNvPr id="16" name="Freeform 15"/>
            <p:cNvSpPr>
              <a:spLocks noEditPoints="1"/>
            </p:cNvSpPr>
            <p:nvPr/>
          </p:nvSpPr>
          <p:spPr bwMode="auto">
            <a:xfrm>
              <a:off x="2057" y="1280"/>
              <a:ext cx="393" cy="1634"/>
            </a:xfrm>
            <a:custGeom>
              <a:avLst/>
              <a:gdLst>
                <a:gd name="T0" fmla="*/ 56 w 832"/>
                <a:gd name="T1" fmla="*/ 1146 h 3453"/>
                <a:gd name="T2" fmla="*/ 773 w 832"/>
                <a:gd name="T3" fmla="*/ 1146 h 3453"/>
                <a:gd name="T4" fmla="*/ 773 w 832"/>
                <a:gd name="T5" fmla="*/ 3453 h 3453"/>
                <a:gd name="T6" fmla="*/ 56 w 832"/>
                <a:gd name="T7" fmla="*/ 3453 h 3453"/>
                <a:gd name="T8" fmla="*/ 56 w 832"/>
                <a:gd name="T9" fmla="*/ 1146 h 3453"/>
                <a:gd name="T10" fmla="*/ 416 w 832"/>
                <a:gd name="T11" fmla="*/ 0 h 3453"/>
                <a:gd name="T12" fmla="*/ 832 w 832"/>
                <a:gd name="T13" fmla="*/ 416 h 3453"/>
                <a:gd name="T14" fmla="*/ 416 w 832"/>
                <a:gd name="T15" fmla="*/ 832 h 3453"/>
                <a:gd name="T16" fmla="*/ 0 w 832"/>
                <a:gd name="T17" fmla="*/ 416 h 3453"/>
                <a:gd name="T18" fmla="*/ 416 w 832"/>
                <a:gd name="T19" fmla="*/ 0 h 3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2" h="3453">
                  <a:moveTo>
                    <a:pt x="56" y="1146"/>
                  </a:moveTo>
                  <a:lnTo>
                    <a:pt x="773" y="1146"/>
                  </a:lnTo>
                  <a:lnTo>
                    <a:pt x="773" y="3453"/>
                  </a:lnTo>
                  <a:lnTo>
                    <a:pt x="56" y="3453"/>
                  </a:lnTo>
                  <a:lnTo>
                    <a:pt x="56" y="1146"/>
                  </a:lnTo>
                  <a:close/>
                  <a:moveTo>
                    <a:pt x="416" y="0"/>
                  </a:moveTo>
                  <a:cubicBezTo>
                    <a:pt x="645" y="0"/>
                    <a:pt x="832" y="186"/>
                    <a:pt x="832" y="416"/>
                  </a:cubicBezTo>
                  <a:cubicBezTo>
                    <a:pt x="832" y="645"/>
                    <a:pt x="645" y="832"/>
                    <a:pt x="416" y="832"/>
                  </a:cubicBezTo>
                  <a:cubicBezTo>
                    <a:pt x="185" y="832"/>
                    <a:pt x="0" y="645"/>
                    <a:pt x="0" y="416"/>
                  </a:cubicBezTo>
                  <a:cubicBezTo>
                    <a:pt x="0" y="186"/>
                    <a:pt x="185" y="0"/>
                    <a:pt x="416" y="0"/>
                  </a:cubicBezTo>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th-TH" sz="1500">
                <a:solidFill>
                  <a:srgbClr val="0574A7"/>
                </a:solidFill>
              </a:endParaRPr>
            </a:p>
          </p:txBody>
        </p:sp>
        <p:sp>
          <p:nvSpPr>
            <p:cNvPr id="17" name="Freeform 16"/>
            <p:cNvSpPr>
              <a:spLocks/>
            </p:cNvSpPr>
            <p:nvPr/>
          </p:nvSpPr>
          <p:spPr bwMode="auto">
            <a:xfrm>
              <a:off x="2635" y="1796"/>
              <a:ext cx="1058" cy="1118"/>
            </a:xfrm>
            <a:custGeom>
              <a:avLst/>
              <a:gdLst>
                <a:gd name="T0" fmla="*/ 0 w 2235"/>
                <a:gd name="T1" fmla="*/ 56 h 2363"/>
                <a:gd name="T2" fmla="*/ 687 w 2235"/>
                <a:gd name="T3" fmla="*/ 56 h 2363"/>
                <a:gd name="T4" fmla="*/ 687 w 2235"/>
                <a:gd name="T5" fmla="*/ 372 h 2363"/>
                <a:gd name="T6" fmla="*/ 696 w 2235"/>
                <a:gd name="T7" fmla="*/ 372 h 2363"/>
                <a:gd name="T8" fmla="*/ 1375 w 2235"/>
                <a:gd name="T9" fmla="*/ 0 h 2363"/>
                <a:gd name="T10" fmla="*/ 2235 w 2235"/>
                <a:gd name="T11" fmla="*/ 1099 h 2363"/>
                <a:gd name="T12" fmla="*/ 2235 w 2235"/>
                <a:gd name="T13" fmla="*/ 2363 h 2363"/>
                <a:gd name="T14" fmla="*/ 1519 w 2235"/>
                <a:gd name="T15" fmla="*/ 2363 h 2363"/>
                <a:gd name="T16" fmla="*/ 1519 w 2235"/>
                <a:gd name="T17" fmla="*/ 1242 h 2363"/>
                <a:gd name="T18" fmla="*/ 1147 w 2235"/>
                <a:gd name="T19" fmla="*/ 630 h 2363"/>
                <a:gd name="T20" fmla="*/ 717 w 2235"/>
                <a:gd name="T21" fmla="*/ 1222 h 2363"/>
                <a:gd name="T22" fmla="*/ 717 w 2235"/>
                <a:gd name="T23" fmla="*/ 2363 h 2363"/>
                <a:gd name="T24" fmla="*/ 1 w 2235"/>
                <a:gd name="T25" fmla="*/ 2363 h 2363"/>
                <a:gd name="T26" fmla="*/ 0 w 2235"/>
                <a:gd name="T27" fmla="*/ 56 h 2363"/>
                <a:gd name="T28" fmla="*/ 0 w 2235"/>
                <a:gd name="T29" fmla="*/ 56 h 2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35" h="2363">
                  <a:moveTo>
                    <a:pt x="0" y="56"/>
                  </a:moveTo>
                  <a:lnTo>
                    <a:pt x="687" y="56"/>
                  </a:lnTo>
                  <a:lnTo>
                    <a:pt x="687" y="372"/>
                  </a:lnTo>
                  <a:lnTo>
                    <a:pt x="696" y="372"/>
                  </a:lnTo>
                  <a:cubicBezTo>
                    <a:pt x="792" y="191"/>
                    <a:pt x="1025" y="0"/>
                    <a:pt x="1375" y="0"/>
                  </a:cubicBezTo>
                  <a:cubicBezTo>
                    <a:pt x="2100" y="0"/>
                    <a:pt x="2235" y="478"/>
                    <a:pt x="2235" y="1099"/>
                  </a:cubicBezTo>
                  <a:lnTo>
                    <a:pt x="2235" y="2363"/>
                  </a:lnTo>
                  <a:lnTo>
                    <a:pt x="1519" y="2363"/>
                  </a:lnTo>
                  <a:lnTo>
                    <a:pt x="1519" y="1242"/>
                  </a:lnTo>
                  <a:cubicBezTo>
                    <a:pt x="1519" y="974"/>
                    <a:pt x="1515" y="630"/>
                    <a:pt x="1147" y="630"/>
                  </a:cubicBezTo>
                  <a:cubicBezTo>
                    <a:pt x="773" y="630"/>
                    <a:pt x="717" y="922"/>
                    <a:pt x="717" y="1222"/>
                  </a:cubicBezTo>
                  <a:lnTo>
                    <a:pt x="717" y="2363"/>
                  </a:lnTo>
                  <a:lnTo>
                    <a:pt x="1" y="2363"/>
                  </a:lnTo>
                  <a:lnTo>
                    <a:pt x="0" y="56"/>
                  </a:lnTo>
                  <a:lnTo>
                    <a:pt x="0" y="56"/>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th-TH" sz="1500">
                <a:solidFill>
                  <a:srgbClr val="0574A7"/>
                </a:solidFill>
              </a:endParaRPr>
            </a:p>
          </p:txBody>
        </p:sp>
      </p:grpSp>
      <p:sp>
        <p:nvSpPr>
          <p:cNvPr id="18" name="Freeform 5"/>
          <p:cNvSpPr>
            <a:spLocks/>
          </p:cNvSpPr>
          <p:nvPr userDrawn="1"/>
        </p:nvSpPr>
        <p:spPr bwMode="auto">
          <a:xfrm>
            <a:off x="5810102" y="4487133"/>
            <a:ext cx="296787" cy="241375"/>
          </a:xfrm>
          <a:custGeom>
            <a:avLst/>
            <a:gdLst>
              <a:gd name="T0" fmla="*/ 656 w 656"/>
              <a:gd name="T1" fmla="*/ 63 h 533"/>
              <a:gd name="T2" fmla="*/ 579 w 656"/>
              <a:gd name="T3" fmla="*/ 84 h 533"/>
              <a:gd name="T4" fmla="*/ 638 w 656"/>
              <a:gd name="T5" fmla="*/ 10 h 533"/>
              <a:gd name="T6" fmla="*/ 553 w 656"/>
              <a:gd name="T7" fmla="*/ 42 h 533"/>
              <a:gd name="T8" fmla="*/ 454 w 656"/>
              <a:gd name="T9" fmla="*/ 0 h 533"/>
              <a:gd name="T10" fmla="*/ 320 w 656"/>
              <a:gd name="T11" fmla="*/ 134 h 533"/>
              <a:gd name="T12" fmla="*/ 323 w 656"/>
              <a:gd name="T13" fmla="*/ 165 h 533"/>
              <a:gd name="T14" fmla="*/ 45 w 656"/>
              <a:gd name="T15" fmla="*/ 24 h 533"/>
              <a:gd name="T16" fmla="*/ 27 w 656"/>
              <a:gd name="T17" fmla="*/ 92 h 533"/>
              <a:gd name="T18" fmla="*/ 87 w 656"/>
              <a:gd name="T19" fmla="*/ 204 h 533"/>
              <a:gd name="T20" fmla="*/ 26 w 656"/>
              <a:gd name="T21" fmla="*/ 187 h 533"/>
              <a:gd name="T22" fmla="*/ 26 w 656"/>
              <a:gd name="T23" fmla="*/ 189 h 533"/>
              <a:gd name="T24" fmla="*/ 134 w 656"/>
              <a:gd name="T25" fmla="*/ 321 h 533"/>
              <a:gd name="T26" fmla="*/ 99 w 656"/>
              <a:gd name="T27" fmla="*/ 326 h 533"/>
              <a:gd name="T28" fmla="*/ 73 w 656"/>
              <a:gd name="T29" fmla="*/ 324 h 533"/>
              <a:gd name="T30" fmla="*/ 199 w 656"/>
              <a:gd name="T31" fmla="*/ 417 h 533"/>
              <a:gd name="T32" fmla="*/ 32 w 656"/>
              <a:gd name="T33" fmla="*/ 475 h 533"/>
              <a:gd name="T34" fmla="*/ 0 w 656"/>
              <a:gd name="T35" fmla="*/ 473 h 533"/>
              <a:gd name="T36" fmla="*/ 206 w 656"/>
              <a:gd name="T37" fmla="*/ 533 h 533"/>
              <a:gd name="T38" fmla="*/ 590 w 656"/>
              <a:gd name="T39" fmla="*/ 150 h 533"/>
              <a:gd name="T40" fmla="*/ 589 w 656"/>
              <a:gd name="T41" fmla="*/ 133 h 533"/>
              <a:gd name="T42" fmla="*/ 656 w 656"/>
              <a:gd name="T43" fmla="*/ 6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56" h="533">
                <a:moveTo>
                  <a:pt x="656" y="63"/>
                </a:moveTo>
                <a:cubicBezTo>
                  <a:pt x="632" y="74"/>
                  <a:pt x="606" y="81"/>
                  <a:pt x="579" y="84"/>
                </a:cubicBezTo>
                <a:cubicBezTo>
                  <a:pt x="607" y="67"/>
                  <a:pt x="628" y="41"/>
                  <a:pt x="638" y="10"/>
                </a:cubicBezTo>
                <a:cubicBezTo>
                  <a:pt x="612" y="25"/>
                  <a:pt x="583" y="36"/>
                  <a:pt x="553" y="42"/>
                </a:cubicBezTo>
                <a:cubicBezTo>
                  <a:pt x="528" y="16"/>
                  <a:pt x="493" y="0"/>
                  <a:pt x="454" y="0"/>
                </a:cubicBezTo>
                <a:cubicBezTo>
                  <a:pt x="380" y="0"/>
                  <a:pt x="320" y="60"/>
                  <a:pt x="320" y="134"/>
                </a:cubicBezTo>
                <a:cubicBezTo>
                  <a:pt x="320" y="145"/>
                  <a:pt x="321" y="155"/>
                  <a:pt x="323" y="165"/>
                </a:cubicBezTo>
                <a:cubicBezTo>
                  <a:pt x="211" y="160"/>
                  <a:pt x="112" y="106"/>
                  <a:pt x="45" y="24"/>
                </a:cubicBezTo>
                <a:cubicBezTo>
                  <a:pt x="34" y="44"/>
                  <a:pt x="27" y="67"/>
                  <a:pt x="27" y="92"/>
                </a:cubicBezTo>
                <a:cubicBezTo>
                  <a:pt x="27" y="139"/>
                  <a:pt x="51" y="180"/>
                  <a:pt x="87" y="204"/>
                </a:cubicBezTo>
                <a:cubicBezTo>
                  <a:pt x="65" y="204"/>
                  <a:pt x="44" y="197"/>
                  <a:pt x="26" y="187"/>
                </a:cubicBezTo>
                <a:cubicBezTo>
                  <a:pt x="26" y="188"/>
                  <a:pt x="26" y="189"/>
                  <a:pt x="26" y="189"/>
                </a:cubicBezTo>
                <a:cubicBezTo>
                  <a:pt x="26" y="254"/>
                  <a:pt x="72" y="309"/>
                  <a:pt x="134" y="321"/>
                </a:cubicBezTo>
                <a:cubicBezTo>
                  <a:pt x="123" y="324"/>
                  <a:pt x="111" y="326"/>
                  <a:pt x="99" y="326"/>
                </a:cubicBezTo>
                <a:cubicBezTo>
                  <a:pt x="90" y="326"/>
                  <a:pt x="82" y="325"/>
                  <a:pt x="73" y="324"/>
                </a:cubicBezTo>
                <a:cubicBezTo>
                  <a:pt x="90" y="377"/>
                  <a:pt x="140" y="416"/>
                  <a:pt x="199" y="417"/>
                </a:cubicBezTo>
                <a:cubicBezTo>
                  <a:pt x="153" y="453"/>
                  <a:pt x="95" y="475"/>
                  <a:pt x="32" y="475"/>
                </a:cubicBezTo>
                <a:cubicBezTo>
                  <a:pt x="21" y="475"/>
                  <a:pt x="10" y="474"/>
                  <a:pt x="0" y="473"/>
                </a:cubicBezTo>
                <a:cubicBezTo>
                  <a:pt x="59" y="511"/>
                  <a:pt x="130" y="533"/>
                  <a:pt x="206" y="533"/>
                </a:cubicBezTo>
                <a:cubicBezTo>
                  <a:pt x="454" y="533"/>
                  <a:pt x="590" y="328"/>
                  <a:pt x="590" y="150"/>
                </a:cubicBezTo>
                <a:cubicBezTo>
                  <a:pt x="590" y="144"/>
                  <a:pt x="590" y="138"/>
                  <a:pt x="589" y="133"/>
                </a:cubicBezTo>
                <a:cubicBezTo>
                  <a:pt x="616" y="114"/>
                  <a:pt x="638" y="90"/>
                  <a:pt x="656" y="63"/>
                </a:cubicBezTo>
                <a:close/>
              </a:path>
            </a:pathLst>
          </a:custGeom>
          <a:solidFill>
            <a:srgbClr val="0084AD"/>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th-TH" sz="1500">
              <a:solidFill>
                <a:srgbClr val="0574A7"/>
              </a:solidFill>
            </a:endParaRPr>
          </a:p>
        </p:txBody>
      </p:sp>
      <p:sp>
        <p:nvSpPr>
          <p:cNvPr id="19" name="Freeform 9"/>
          <p:cNvSpPr>
            <a:spLocks noEditPoints="1"/>
          </p:cNvSpPr>
          <p:nvPr userDrawn="1"/>
        </p:nvSpPr>
        <p:spPr bwMode="auto">
          <a:xfrm>
            <a:off x="7844284" y="4487651"/>
            <a:ext cx="239586" cy="240340"/>
          </a:xfrm>
          <a:custGeom>
            <a:avLst/>
            <a:gdLst>
              <a:gd name="T0" fmla="*/ 0 w 661"/>
              <a:gd name="T1" fmla="*/ 352 h 663"/>
              <a:gd name="T2" fmla="*/ 218 w 661"/>
              <a:gd name="T3" fmla="*/ 443 h 663"/>
              <a:gd name="T4" fmla="*/ 309 w 661"/>
              <a:gd name="T5" fmla="*/ 663 h 663"/>
              <a:gd name="T6" fmla="*/ 436 w 661"/>
              <a:gd name="T7" fmla="*/ 663 h 663"/>
              <a:gd name="T8" fmla="*/ 0 w 661"/>
              <a:gd name="T9" fmla="*/ 225 h 663"/>
              <a:gd name="T10" fmla="*/ 0 w 661"/>
              <a:gd name="T11" fmla="*/ 352 h 663"/>
              <a:gd name="T12" fmla="*/ 0 w 661"/>
              <a:gd name="T13" fmla="*/ 127 h 663"/>
              <a:gd name="T14" fmla="*/ 533 w 661"/>
              <a:gd name="T15" fmla="*/ 663 h 663"/>
              <a:gd name="T16" fmla="*/ 661 w 661"/>
              <a:gd name="T17" fmla="*/ 663 h 663"/>
              <a:gd name="T18" fmla="*/ 0 w 661"/>
              <a:gd name="T19" fmla="*/ 0 h 663"/>
              <a:gd name="T20" fmla="*/ 0 w 661"/>
              <a:gd name="T21" fmla="*/ 127 h 663"/>
              <a:gd name="T22" fmla="*/ 176 w 661"/>
              <a:gd name="T23" fmla="*/ 575 h 663"/>
              <a:gd name="T24" fmla="*/ 88 w 661"/>
              <a:gd name="T25" fmla="*/ 663 h 663"/>
              <a:gd name="T26" fmla="*/ 0 w 661"/>
              <a:gd name="T27" fmla="*/ 575 h 663"/>
              <a:gd name="T28" fmla="*/ 88 w 661"/>
              <a:gd name="T29" fmla="*/ 486 h 663"/>
              <a:gd name="T30" fmla="*/ 176 w 661"/>
              <a:gd name="T31" fmla="*/ 575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1" h="663">
                <a:moveTo>
                  <a:pt x="0" y="352"/>
                </a:moveTo>
                <a:cubicBezTo>
                  <a:pt x="82" y="352"/>
                  <a:pt x="160" y="385"/>
                  <a:pt x="218" y="443"/>
                </a:cubicBezTo>
                <a:cubicBezTo>
                  <a:pt x="277" y="502"/>
                  <a:pt x="309" y="580"/>
                  <a:pt x="309" y="663"/>
                </a:cubicBezTo>
                <a:lnTo>
                  <a:pt x="436" y="663"/>
                </a:lnTo>
                <a:cubicBezTo>
                  <a:pt x="436" y="422"/>
                  <a:pt x="240" y="225"/>
                  <a:pt x="0" y="225"/>
                </a:cubicBezTo>
                <a:lnTo>
                  <a:pt x="0" y="352"/>
                </a:lnTo>
                <a:close/>
                <a:moveTo>
                  <a:pt x="0" y="127"/>
                </a:moveTo>
                <a:cubicBezTo>
                  <a:pt x="294" y="127"/>
                  <a:pt x="533" y="368"/>
                  <a:pt x="533" y="663"/>
                </a:cubicBezTo>
                <a:lnTo>
                  <a:pt x="661" y="663"/>
                </a:lnTo>
                <a:cubicBezTo>
                  <a:pt x="661" y="297"/>
                  <a:pt x="364" y="0"/>
                  <a:pt x="0" y="0"/>
                </a:cubicBezTo>
                <a:lnTo>
                  <a:pt x="0" y="127"/>
                </a:lnTo>
                <a:close/>
                <a:moveTo>
                  <a:pt x="176" y="575"/>
                </a:moveTo>
                <a:cubicBezTo>
                  <a:pt x="176" y="623"/>
                  <a:pt x="136" y="663"/>
                  <a:pt x="88" y="663"/>
                </a:cubicBezTo>
                <a:cubicBezTo>
                  <a:pt x="39" y="663"/>
                  <a:pt x="0" y="623"/>
                  <a:pt x="0" y="575"/>
                </a:cubicBezTo>
                <a:cubicBezTo>
                  <a:pt x="0" y="526"/>
                  <a:pt x="39" y="486"/>
                  <a:pt x="88" y="486"/>
                </a:cubicBezTo>
                <a:cubicBezTo>
                  <a:pt x="136" y="486"/>
                  <a:pt x="176" y="526"/>
                  <a:pt x="176" y="575"/>
                </a:cubicBezTo>
                <a:close/>
              </a:path>
            </a:pathLst>
          </a:custGeom>
          <a:solidFill>
            <a:schemeClr val="tx2"/>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th-TH" sz="1500">
              <a:solidFill>
                <a:srgbClr val="0574A7"/>
              </a:solidFill>
            </a:endParaRPr>
          </a:p>
        </p:txBody>
      </p:sp>
      <p:sp>
        <p:nvSpPr>
          <p:cNvPr id="20" name="TextBox 19"/>
          <p:cNvSpPr txBox="1"/>
          <p:nvPr userDrawn="1"/>
        </p:nvSpPr>
        <p:spPr>
          <a:xfrm>
            <a:off x="5766441" y="1971347"/>
            <a:ext cx="4388115" cy="943762"/>
          </a:xfrm>
          <a:prstGeom prst="rect">
            <a:avLst/>
          </a:prstGeom>
          <a:noFill/>
        </p:spPr>
        <p:txBody>
          <a:bodyPr wrap="square" rtlCol="0" anchor="ctr">
            <a:noAutofit/>
          </a:bodyPr>
          <a:lstStyle/>
          <a:p>
            <a:pPr>
              <a:lnSpc>
                <a:spcPct val="90000"/>
              </a:lnSpc>
              <a:buClr>
                <a:srgbClr val="C4D600"/>
              </a:buClr>
            </a:pPr>
            <a:r>
              <a:rPr lang="en-US" sz="3000" b="1">
                <a:solidFill>
                  <a:schemeClr val="accent6">
                    <a:lumMod val="75000"/>
                  </a:schemeClr>
                </a:solidFill>
              </a:rPr>
              <a:t>CONNECT WITH US</a:t>
            </a:r>
          </a:p>
        </p:txBody>
      </p:sp>
      <p:sp>
        <p:nvSpPr>
          <p:cNvPr id="3" name="Rectangle 2"/>
          <p:cNvSpPr/>
          <p:nvPr userDrawn="1"/>
        </p:nvSpPr>
        <p:spPr>
          <a:xfrm>
            <a:off x="5766441" y="809482"/>
            <a:ext cx="3480953" cy="1015663"/>
          </a:xfrm>
          <a:prstGeom prst="rect">
            <a:avLst/>
          </a:prstGeom>
        </p:spPr>
        <p:txBody>
          <a:bodyPr wrap="none">
            <a:spAutoFit/>
          </a:bodyPr>
          <a:lstStyle/>
          <a:p>
            <a:r>
              <a:rPr kumimoji="0" lang="en-US" sz="6000" b="1" i="0" u="none" strike="noStrike" kern="1200" cap="none" spc="0" normalizeH="0" baseline="0" noProof="0">
                <a:ln>
                  <a:noFill/>
                </a:ln>
                <a:solidFill>
                  <a:schemeClr val="tx2"/>
                </a:solidFill>
                <a:effectLst/>
                <a:uLnTx/>
                <a:uFillTx/>
                <a:latin typeface="+mn-lt"/>
                <a:ea typeface="+mj-ea"/>
                <a:cs typeface="+mj-cs"/>
              </a:rPr>
              <a:t>Thank You</a:t>
            </a:r>
            <a:endParaRPr lang="en-US" sz="1500">
              <a:solidFill>
                <a:schemeClr val="tx2"/>
              </a:solidFill>
            </a:endParaRPr>
          </a:p>
        </p:txBody>
      </p:sp>
    </p:spTree>
    <p:extLst>
      <p:ext uri="{BB962C8B-B14F-4D97-AF65-F5344CB8AC3E}">
        <p14:creationId xmlns:p14="http://schemas.microsoft.com/office/powerpoint/2010/main" val="36226041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30896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duotone>
              <a:schemeClr val="accent2">
                <a:shade val="45000"/>
                <a:satMod val="135000"/>
              </a:schemeClr>
              <a:prstClr val="white"/>
            </a:duotone>
            <a:extLst>
              <a:ext uri="{28A0092B-C50C-407E-A947-70E740481C1C}">
                <a14:useLocalDpi xmlns:a14="http://schemas.microsoft.com/office/drawing/2010/main"/>
              </a:ext>
            </a:extLst>
          </a:blip>
          <a:srcRect r="33635"/>
          <a:stretch/>
        </p:blipFill>
        <p:spPr>
          <a:xfrm>
            <a:off x="5692484" y="854892"/>
            <a:ext cx="6481373" cy="5859789"/>
          </a:xfrm>
          <a:prstGeom prst="rect">
            <a:avLst/>
          </a:prstGeom>
        </p:spPr>
      </p:pic>
      <p:sp>
        <p:nvSpPr>
          <p:cNvPr id="11" name="Rectangle 10"/>
          <p:cNvSpPr/>
          <p:nvPr userDrawn="1"/>
        </p:nvSpPr>
        <p:spPr>
          <a:xfrm>
            <a:off x="0" y="0"/>
            <a:ext cx="12192000" cy="845820"/>
          </a:xfrm>
          <a:prstGeom prst="rect">
            <a:avLst/>
          </a:prstGeom>
          <a:solidFill>
            <a:srgbClr val="1575A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prstClr val="white"/>
              </a:solidFill>
            </a:endParaRPr>
          </a:p>
        </p:txBody>
      </p:sp>
      <p:sp>
        <p:nvSpPr>
          <p:cNvPr id="12" name="Rectangle 11"/>
          <p:cNvSpPr/>
          <p:nvPr userDrawn="1"/>
        </p:nvSpPr>
        <p:spPr>
          <a:xfrm>
            <a:off x="0" y="6629400"/>
            <a:ext cx="12192000" cy="228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prstClr val="white"/>
              </a:solidFill>
            </a:endParaRPr>
          </a:p>
        </p:txBody>
      </p:sp>
      <p:sp>
        <p:nvSpPr>
          <p:cNvPr id="19" name="Title 18"/>
          <p:cNvSpPr>
            <a:spLocks noGrp="1"/>
          </p:cNvSpPr>
          <p:nvPr>
            <p:ph type="title" hasCustomPrompt="1"/>
          </p:nvPr>
        </p:nvSpPr>
        <p:spPr>
          <a:xfrm>
            <a:off x="518160" y="3314322"/>
            <a:ext cx="7883633" cy="838200"/>
          </a:xfrm>
        </p:spPr>
        <p:txBody>
          <a:bodyPr anchor="b">
            <a:noAutofit/>
          </a:bodyPr>
          <a:lstStyle>
            <a:lvl1pPr marL="0" algn="l" defTabSz="914363" rtl="0" eaLnBrk="1" latinLnBrk="0" hangingPunct="1">
              <a:lnSpc>
                <a:spcPct val="90000"/>
              </a:lnSpc>
              <a:spcBef>
                <a:spcPct val="0"/>
              </a:spcBef>
              <a:buNone/>
              <a:defRPr lang="en-US" sz="5000" b="1" kern="1200" dirty="0">
                <a:solidFill>
                  <a:schemeClr val="accent2"/>
                </a:solidFill>
                <a:latin typeface="+mn-lt"/>
                <a:ea typeface="+mj-ea"/>
                <a:cs typeface="+mj-cs"/>
              </a:defRPr>
            </a:lvl1pPr>
          </a:lstStyle>
          <a:p>
            <a:r>
              <a:rPr lang="en-US"/>
              <a:t>Click to Edit Master Title</a:t>
            </a:r>
          </a:p>
        </p:txBody>
      </p:sp>
      <p:sp>
        <p:nvSpPr>
          <p:cNvPr id="16" name="Subtitle 2"/>
          <p:cNvSpPr>
            <a:spLocks noGrp="1"/>
          </p:cNvSpPr>
          <p:nvPr>
            <p:ph type="subTitle" idx="1" hasCustomPrompt="1"/>
          </p:nvPr>
        </p:nvSpPr>
        <p:spPr>
          <a:xfrm>
            <a:off x="518161" y="4225093"/>
            <a:ext cx="5889644" cy="457200"/>
          </a:xfrm>
        </p:spPr>
        <p:txBody>
          <a:bodyPr anchor="ctr">
            <a:noAutofit/>
          </a:bodyPr>
          <a:lstStyle>
            <a:lvl1pPr marL="0" indent="0" algn="l">
              <a:buNone/>
              <a:defRPr sz="3667" b="0" i="0">
                <a:solidFill>
                  <a:schemeClr val="accent2"/>
                </a:solidFill>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Heading</a:t>
            </a:r>
          </a:p>
        </p:txBody>
      </p:sp>
      <p:sp>
        <p:nvSpPr>
          <p:cNvPr id="18" name="Text Placeholder 10"/>
          <p:cNvSpPr>
            <a:spLocks noGrp="1"/>
          </p:cNvSpPr>
          <p:nvPr>
            <p:ph type="body" sz="quarter" idx="10" hasCustomPrompt="1"/>
          </p:nvPr>
        </p:nvSpPr>
        <p:spPr>
          <a:xfrm>
            <a:off x="508623" y="4817397"/>
            <a:ext cx="5895788" cy="400496"/>
          </a:xfrm>
        </p:spPr>
        <p:txBody>
          <a:bodyPr anchor="ctr">
            <a:normAutofit/>
          </a:bodyPr>
          <a:lstStyle>
            <a:lvl1pPr>
              <a:defRPr sz="2000" b="0" i="1">
                <a:solidFill>
                  <a:schemeClr val="tx1"/>
                </a:solidFill>
              </a:defRPr>
            </a:lvl1pPr>
          </a:lstStyle>
          <a:p>
            <a:pPr lvl="0"/>
            <a:r>
              <a:rPr lang="en-US"/>
              <a:t>Click to Edit Sub Heading</a:t>
            </a:r>
          </a:p>
        </p:txBody>
      </p:sp>
      <p:pic>
        <p:nvPicPr>
          <p:cNvPr id="3" name="Picture 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76955" y="296100"/>
            <a:ext cx="2118386" cy="320172"/>
          </a:xfrm>
          <a:prstGeom prst="rect">
            <a:avLst/>
          </a:prstGeom>
        </p:spPr>
      </p:pic>
    </p:spTree>
    <p:extLst>
      <p:ext uri="{BB962C8B-B14F-4D97-AF65-F5344CB8AC3E}">
        <p14:creationId xmlns:p14="http://schemas.microsoft.com/office/powerpoint/2010/main" val="11821342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4"/>
          <p:cNvSpPr>
            <a:spLocks noGrp="1"/>
          </p:cNvSpPr>
          <p:nvPr>
            <p:ph type="body" sz="quarter" idx="10"/>
          </p:nvPr>
        </p:nvSpPr>
        <p:spPr>
          <a:xfrm>
            <a:off x="1128156" y="1994134"/>
            <a:ext cx="3065918" cy="674688"/>
          </a:xfrm>
        </p:spPr>
        <p:txBody>
          <a:bodyPr>
            <a:normAutofit/>
          </a:bodyPr>
          <a:lstStyle>
            <a:lvl1pPr algn="r">
              <a:defRPr sz="3333" b="1">
                <a:solidFill>
                  <a:schemeClr val="accent2"/>
                </a:solidFill>
              </a:defRPr>
            </a:lvl1pPr>
          </a:lstStyle>
          <a:p>
            <a:pPr lvl="0"/>
            <a:r>
              <a:rPr lang="en-US"/>
              <a:t>Edit Master text styles</a:t>
            </a:r>
          </a:p>
        </p:txBody>
      </p:sp>
      <p:sp>
        <p:nvSpPr>
          <p:cNvPr id="5" name="Rectangle 4"/>
          <p:cNvSpPr/>
          <p:nvPr userDrawn="1"/>
        </p:nvSpPr>
        <p:spPr>
          <a:xfrm>
            <a:off x="4433451" y="1622962"/>
            <a:ext cx="38100" cy="44136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prstClr val="white"/>
              </a:solidFill>
            </a:endParaRPr>
          </a:p>
        </p:txBody>
      </p:sp>
      <p:sp>
        <p:nvSpPr>
          <p:cNvPr id="6" name="Rectangle 5"/>
          <p:cNvSpPr/>
          <p:nvPr userDrawn="1"/>
        </p:nvSpPr>
        <p:spPr>
          <a:xfrm>
            <a:off x="5828806" y="1597990"/>
            <a:ext cx="182059" cy="4413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prstClr val="white"/>
              </a:solidFill>
            </a:endParaRPr>
          </a:p>
        </p:txBody>
      </p:sp>
      <p:sp>
        <p:nvSpPr>
          <p:cNvPr id="7" name="Text Placeholder 4"/>
          <p:cNvSpPr>
            <a:spLocks noGrp="1"/>
          </p:cNvSpPr>
          <p:nvPr>
            <p:ph type="body" sz="quarter" idx="11" hasCustomPrompt="1"/>
          </p:nvPr>
        </p:nvSpPr>
        <p:spPr>
          <a:xfrm>
            <a:off x="4849091" y="1981729"/>
            <a:ext cx="5986019" cy="3646185"/>
          </a:xfrm>
        </p:spPr>
        <p:txBody>
          <a:bodyPr>
            <a:normAutofit/>
          </a:bodyPr>
          <a:lstStyle>
            <a:lvl1pPr marL="380985" marR="0" indent="-380985" algn="l" defTabSz="914363" rtl="0" eaLnBrk="1" fontAlgn="auto" latinLnBrk="0" hangingPunct="1">
              <a:lnSpc>
                <a:spcPct val="90000"/>
              </a:lnSpc>
              <a:spcBef>
                <a:spcPts val="1000"/>
              </a:spcBef>
              <a:spcAft>
                <a:spcPts val="0"/>
              </a:spcAft>
              <a:buClr>
                <a:srgbClr val="0083AF"/>
              </a:buClr>
              <a:buSzTx/>
              <a:buFont typeface="Arial" panose="020B0604020202020204" pitchFamily="34" charset="0"/>
              <a:buChar char="•"/>
              <a:tabLst/>
              <a:defRPr sz="2333" b="0">
                <a:solidFill>
                  <a:schemeClr val="tx1"/>
                </a:solidFill>
              </a:defRPr>
            </a:lvl1pPr>
            <a:lvl2pPr marL="424640" indent="380985">
              <a:buClr>
                <a:srgbClr val="0083AF"/>
              </a:buClr>
              <a:buSzPct val="70000"/>
              <a:buFont typeface="Courier New" panose="02070309020205020404" pitchFamily="49" charset="0"/>
              <a:buChar char="o"/>
              <a:defRPr sz="2333">
                <a:solidFill>
                  <a:schemeClr val="tx1"/>
                </a:solidFill>
              </a:defRPr>
            </a:lvl2pPr>
            <a:lvl3pPr marL="761970" indent="-337331">
              <a:buFont typeface="Courier New" panose="02070309020205020404" pitchFamily="49" charset="0"/>
              <a:buChar char="o"/>
              <a:defRPr lang="en-US" sz="2250" b="0" kern="1200" dirty="0">
                <a:solidFill>
                  <a:schemeClr val="accent3"/>
                </a:solidFill>
                <a:latin typeface="+mn-lt"/>
                <a:ea typeface="+mn-ea"/>
                <a:cs typeface="+mn-cs"/>
              </a:defRPr>
            </a:lvl3pPr>
          </a:lstStyle>
          <a:p>
            <a:pPr lvl="0"/>
            <a:r>
              <a:rPr lang="en-US"/>
              <a:t>Edit Master text styles</a:t>
            </a:r>
          </a:p>
          <a:p>
            <a:pPr lvl="1"/>
            <a:r>
              <a:rPr lang="en-US"/>
              <a:t>Second Level</a:t>
            </a:r>
          </a:p>
          <a:p>
            <a:pPr lvl="0"/>
            <a:endParaRPr lang="en-US"/>
          </a:p>
          <a:p>
            <a:pPr lvl="2"/>
            <a:endParaRPr lang="en-US"/>
          </a:p>
        </p:txBody>
      </p:sp>
      <p:sp>
        <p:nvSpPr>
          <p:cNvPr id="8" name="TextBox 7"/>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9" name="TextBox 8"/>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spTree>
    <p:extLst>
      <p:ext uri="{BB962C8B-B14F-4D97-AF65-F5344CB8AC3E}">
        <p14:creationId xmlns:p14="http://schemas.microsoft.com/office/powerpoint/2010/main" val="13002425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3" name="TextBox 2"/>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4" name="TextBox 3"/>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cxnSp>
        <p:nvCxnSpPr>
          <p:cNvPr id="6" name="Straight Connector 5"/>
          <p:cNvCxnSpPr/>
          <p:nvPr userDrawn="1"/>
        </p:nvCxnSpPr>
        <p:spPr>
          <a:xfrm flipV="1">
            <a:off x="0" y="6241143"/>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a:xfrm>
            <a:off x="0" y="0"/>
            <a:ext cx="12192000" cy="845820"/>
          </a:xfrm>
          <a:prstGeom prst="rect">
            <a:avLst/>
          </a:prstGeom>
          <a:solidFill>
            <a:srgbClr val="1575A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1" name="Rectangle 10"/>
          <p:cNvSpPr/>
          <p:nvPr userDrawn="1"/>
        </p:nvSpPr>
        <p:spPr>
          <a:xfrm>
            <a:off x="6934200" y="8248"/>
            <a:ext cx="1752600" cy="599900"/>
          </a:xfrm>
          <a:prstGeom prst="rect">
            <a:avLst/>
          </a:prstGeom>
          <a:solidFill>
            <a:srgbClr val="008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2" name="Rectangle 11"/>
          <p:cNvSpPr/>
          <p:nvPr userDrawn="1"/>
        </p:nvSpPr>
        <p:spPr>
          <a:xfrm>
            <a:off x="5181600" y="608149"/>
            <a:ext cx="1752600" cy="246528"/>
          </a:xfrm>
          <a:prstGeom prst="rect">
            <a:avLst/>
          </a:prstGeom>
          <a:solidFill>
            <a:srgbClr val="008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cxnSp>
        <p:nvCxnSpPr>
          <p:cNvPr id="13" name="Straight Connector 12"/>
          <p:cNvCxnSpPr/>
          <p:nvPr userDrawn="1"/>
        </p:nvCxnSpPr>
        <p:spPr>
          <a:xfrm>
            <a:off x="6934200" y="608148"/>
            <a:ext cx="52578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6934200" y="0"/>
            <a:ext cx="0" cy="854676"/>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10450286" y="0"/>
            <a:ext cx="0" cy="854676"/>
          </a:xfrm>
          <a:prstGeom prst="line">
            <a:avLst/>
          </a:prstGeom>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442785" y="0"/>
            <a:ext cx="10911016" cy="854676"/>
          </a:xfrm>
        </p:spPr>
        <p:txBody>
          <a:bodyPr>
            <a:normAutofit/>
          </a:bodyPr>
          <a:lstStyle>
            <a:lvl1pPr>
              <a:defRPr sz="3000">
                <a:solidFill>
                  <a:schemeClr val="bg1"/>
                </a:solidFill>
              </a:defRPr>
            </a:lvl1pPr>
          </a:lstStyle>
          <a:p>
            <a:r>
              <a:rPr lang="en-US"/>
              <a:t>Click to edit Master title style</a:t>
            </a:r>
          </a:p>
        </p:txBody>
      </p:sp>
      <p:sp>
        <p:nvSpPr>
          <p:cNvPr id="17" name="Content Placeholder 2"/>
          <p:cNvSpPr>
            <a:spLocks noGrp="1"/>
          </p:cNvSpPr>
          <p:nvPr>
            <p:ph idx="1" hasCustomPrompt="1"/>
          </p:nvPr>
        </p:nvSpPr>
        <p:spPr>
          <a:xfrm>
            <a:off x="649941" y="1361440"/>
            <a:ext cx="10703859" cy="4760837"/>
          </a:xfrm>
        </p:spPr>
        <p:txBody>
          <a:bodyPr>
            <a:normAutofit/>
          </a:bodyPr>
          <a:lstStyle>
            <a:lvl1pPr>
              <a:defRPr sz="2333" b="0">
                <a:solidFill>
                  <a:schemeClr val="tx1"/>
                </a:solidFill>
              </a:defRPr>
            </a:lvl1pPr>
            <a:lvl2pPr>
              <a:buClr>
                <a:schemeClr val="accent1"/>
              </a:buClr>
              <a:buSzPct val="100000"/>
              <a:defRPr sz="2333">
                <a:solidFill>
                  <a:schemeClr val="tx1"/>
                </a:solidFill>
              </a:defRPr>
            </a:lvl2pPr>
            <a:lvl3pPr marL="525177" indent="-238115">
              <a:buClr>
                <a:schemeClr val="accent1"/>
              </a:buClr>
              <a:buSzPct val="90000"/>
              <a:buFont typeface="Calibri" panose="020F0502020204030204" pitchFamily="34" charset="0"/>
              <a:buChar char="–"/>
              <a:defRPr sz="2333">
                <a:solidFill>
                  <a:schemeClr val="tx1"/>
                </a:solidFill>
              </a:defRPr>
            </a:lvl3pPr>
            <a:lvl4pPr marL="761970" indent="-227533">
              <a:buClr>
                <a:schemeClr val="accent1"/>
              </a:buClr>
              <a:buSzPct val="90000"/>
              <a:buFont typeface="Courier New" panose="02070309020205020404" pitchFamily="49" charset="0"/>
              <a:buChar char="o"/>
              <a:defRPr sz="2333">
                <a:solidFill>
                  <a:schemeClr val="tx1"/>
                </a:solidFill>
              </a:defRPr>
            </a:lvl4pPr>
            <a:lvl5pPr>
              <a:buClr>
                <a:schemeClr val="accent4"/>
              </a:buClr>
              <a:defRPr sz="20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8" name="Picture 1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7068" y="6436854"/>
            <a:ext cx="1591732" cy="240573"/>
          </a:xfrm>
          <a:prstGeom prst="rect">
            <a:avLst/>
          </a:prstGeom>
        </p:spPr>
      </p:pic>
    </p:spTree>
    <p:extLst>
      <p:ext uri="{BB962C8B-B14F-4D97-AF65-F5344CB8AC3E}">
        <p14:creationId xmlns:p14="http://schemas.microsoft.com/office/powerpoint/2010/main" val="298937417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ub Title &amp; Content">
    <p:spTree>
      <p:nvGrpSpPr>
        <p:cNvPr id="1" name=""/>
        <p:cNvGrpSpPr/>
        <p:nvPr/>
      </p:nvGrpSpPr>
      <p:grpSpPr>
        <a:xfrm>
          <a:off x="0" y="0"/>
          <a:ext cx="0" cy="0"/>
          <a:chOff x="0" y="0"/>
          <a:chExt cx="0" cy="0"/>
        </a:xfrm>
      </p:grpSpPr>
      <p:sp>
        <p:nvSpPr>
          <p:cNvPr id="3" name="TextBox 2"/>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4" name="TextBox 3"/>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cxnSp>
        <p:nvCxnSpPr>
          <p:cNvPr id="6" name="Straight Connector 5"/>
          <p:cNvCxnSpPr/>
          <p:nvPr userDrawn="1"/>
        </p:nvCxnSpPr>
        <p:spPr>
          <a:xfrm flipV="1">
            <a:off x="0" y="6241143"/>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a:xfrm>
            <a:off x="0" y="0"/>
            <a:ext cx="12192000" cy="845820"/>
          </a:xfrm>
          <a:prstGeom prst="rect">
            <a:avLst/>
          </a:prstGeom>
          <a:solidFill>
            <a:srgbClr val="1575A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1" name="Rectangle 10"/>
          <p:cNvSpPr/>
          <p:nvPr userDrawn="1"/>
        </p:nvSpPr>
        <p:spPr>
          <a:xfrm>
            <a:off x="6934200" y="8248"/>
            <a:ext cx="1752600" cy="599900"/>
          </a:xfrm>
          <a:prstGeom prst="rect">
            <a:avLst/>
          </a:prstGeom>
          <a:solidFill>
            <a:srgbClr val="008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2" name="Rectangle 11"/>
          <p:cNvSpPr/>
          <p:nvPr userDrawn="1"/>
        </p:nvSpPr>
        <p:spPr>
          <a:xfrm>
            <a:off x="5181600" y="608149"/>
            <a:ext cx="1752600" cy="246528"/>
          </a:xfrm>
          <a:prstGeom prst="rect">
            <a:avLst/>
          </a:prstGeom>
          <a:solidFill>
            <a:srgbClr val="008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cxnSp>
        <p:nvCxnSpPr>
          <p:cNvPr id="13" name="Straight Connector 12"/>
          <p:cNvCxnSpPr/>
          <p:nvPr userDrawn="1"/>
        </p:nvCxnSpPr>
        <p:spPr>
          <a:xfrm>
            <a:off x="6934200" y="608148"/>
            <a:ext cx="52578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6934200" y="0"/>
            <a:ext cx="0" cy="854676"/>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10450286" y="0"/>
            <a:ext cx="0" cy="854676"/>
          </a:xfrm>
          <a:prstGeom prst="line">
            <a:avLst/>
          </a:prstGeom>
        </p:spPr>
        <p:style>
          <a:lnRef idx="1">
            <a:schemeClr val="accent1"/>
          </a:lnRef>
          <a:fillRef idx="0">
            <a:schemeClr val="accent1"/>
          </a:fillRef>
          <a:effectRef idx="0">
            <a:schemeClr val="accent1"/>
          </a:effectRef>
          <a:fontRef idx="minor">
            <a:schemeClr val="tx1"/>
          </a:fontRef>
        </p:style>
      </p:cxnSp>
      <p:sp>
        <p:nvSpPr>
          <p:cNvPr id="19" name="Text Placeholder 9"/>
          <p:cNvSpPr>
            <a:spLocks noGrp="1"/>
          </p:cNvSpPr>
          <p:nvPr>
            <p:ph type="body" sz="quarter" idx="10" hasCustomPrompt="1"/>
          </p:nvPr>
        </p:nvSpPr>
        <p:spPr>
          <a:xfrm>
            <a:off x="443178" y="957792"/>
            <a:ext cx="10910093" cy="380355"/>
          </a:xfrm>
        </p:spPr>
        <p:txBody>
          <a:bodyPr>
            <a:noAutofit/>
          </a:bodyPr>
          <a:lstStyle>
            <a:lvl1pPr>
              <a:defRPr sz="2333" b="0" baseline="0">
                <a:solidFill>
                  <a:schemeClr val="accent1"/>
                </a:solidFill>
              </a:defRPr>
            </a:lvl1pPr>
          </a:lstStyle>
          <a:p>
            <a:pPr lvl="0"/>
            <a:r>
              <a:rPr lang="en-US"/>
              <a:t>Subhead goes here</a:t>
            </a:r>
          </a:p>
        </p:txBody>
      </p:sp>
      <p:sp>
        <p:nvSpPr>
          <p:cNvPr id="20" name="Text Placeholder 9"/>
          <p:cNvSpPr>
            <a:spLocks noGrp="1"/>
          </p:cNvSpPr>
          <p:nvPr>
            <p:ph type="body" sz="quarter" idx="11" hasCustomPrompt="1"/>
          </p:nvPr>
        </p:nvSpPr>
        <p:spPr>
          <a:xfrm>
            <a:off x="443178" y="1427209"/>
            <a:ext cx="10910093" cy="529683"/>
          </a:xfrm>
        </p:spPr>
        <p:txBody>
          <a:bodyPr>
            <a:normAutofit/>
          </a:bodyPr>
          <a:lstStyle>
            <a:lvl1pPr>
              <a:defRPr sz="2000" b="0" i="1" baseline="0">
                <a:solidFill>
                  <a:schemeClr val="tx1"/>
                </a:solidFill>
              </a:defRPr>
            </a:lvl1pPr>
          </a:lstStyle>
          <a:p>
            <a:pPr lvl="0"/>
            <a:r>
              <a:rPr lang="en-US"/>
              <a:t>Click to edit text</a:t>
            </a:r>
          </a:p>
        </p:txBody>
      </p:sp>
      <p:sp>
        <p:nvSpPr>
          <p:cNvPr id="21" name="Title 1"/>
          <p:cNvSpPr>
            <a:spLocks noGrp="1"/>
          </p:cNvSpPr>
          <p:nvPr>
            <p:ph type="title"/>
          </p:nvPr>
        </p:nvSpPr>
        <p:spPr>
          <a:xfrm>
            <a:off x="442785" y="0"/>
            <a:ext cx="10911016" cy="854676"/>
          </a:xfrm>
        </p:spPr>
        <p:txBody>
          <a:bodyPr>
            <a:normAutofit/>
          </a:bodyPr>
          <a:lstStyle>
            <a:lvl1pPr>
              <a:defRPr sz="3000">
                <a:solidFill>
                  <a:schemeClr val="bg1"/>
                </a:solidFill>
              </a:defRPr>
            </a:lvl1pPr>
          </a:lstStyle>
          <a:p>
            <a:r>
              <a:rPr lang="en-US"/>
              <a:t>Click to edit Master title style</a:t>
            </a:r>
          </a:p>
        </p:txBody>
      </p:sp>
      <p:sp>
        <p:nvSpPr>
          <p:cNvPr id="22" name="Content Placeholder 2"/>
          <p:cNvSpPr>
            <a:spLocks noGrp="1"/>
          </p:cNvSpPr>
          <p:nvPr>
            <p:ph idx="1" hasCustomPrompt="1"/>
          </p:nvPr>
        </p:nvSpPr>
        <p:spPr>
          <a:xfrm>
            <a:off x="649941" y="2045954"/>
            <a:ext cx="10703859" cy="4076323"/>
          </a:xfrm>
        </p:spPr>
        <p:txBody>
          <a:bodyPr>
            <a:normAutofit/>
          </a:bodyPr>
          <a:lstStyle>
            <a:lvl1pPr>
              <a:defRPr sz="2333" b="0">
                <a:solidFill>
                  <a:schemeClr val="tx1"/>
                </a:solidFill>
              </a:defRPr>
            </a:lvl1pPr>
            <a:lvl2pPr>
              <a:buClr>
                <a:schemeClr val="accent1"/>
              </a:buClr>
              <a:buSzPct val="100000"/>
              <a:defRPr sz="2333">
                <a:solidFill>
                  <a:schemeClr val="tx1"/>
                </a:solidFill>
              </a:defRPr>
            </a:lvl2pPr>
            <a:lvl3pPr marL="525177" indent="-238115">
              <a:buClr>
                <a:schemeClr val="accent1"/>
              </a:buClr>
              <a:buSzPct val="90000"/>
              <a:buFont typeface="Calibri" panose="020F0502020204030204" pitchFamily="34" charset="0"/>
              <a:buChar char="–"/>
              <a:defRPr sz="2333">
                <a:solidFill>
                  <a:schemeClr val="tx1"/>
                </a:solidFill>
              </a:defRPr>
            </a:lvl3pPr>
            <a:lvl4pPr marL="761970" indent="-227533">
              <a:buClr>
                <a:schemeClr val="accent1"/>
              </a:buClr>
              <a:buSzPct val="90000"/>
              <a:buFont typeface="Courier New" panose="02070309020205020404" pitchFamily="49" charset="0"/>
              <a:buChar char="o"/>
              <a:defRPr sz="2333">
                <a:solidFill>
                  <a:schemeClr val="tx1"/>
                </a:solidFill>
              </a:defRPr>
            </a:lvl4pPr>
            <a:lvl5pPr>
              <a:buClr>
                <a:schemeClr val="accent4"/>
              </a:buClr>
              <a:defRPr sz="20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7" name="Picture 1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7068" y="6436854"/>
            <a:ext cx="1591732" cy="240573"/>
          </a:xfrm>
          <a:prstGeom prst="rect">
            <a:avLst/>
          </a:prstGeom>
        </p:spPr>
      </p:pic>
    </p:spTree>
    <p:extLst>
      <p:ext uri="{BB962C8B-B14F-4D97-AF65-F5344CB8AC3E}">
        <p14:creationId xmlns:p14="http://schemas.microsoft.com/office/powerpoint/2010/main" val="11407146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lide - Header, Subhead + Lis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F52DBD38-538A-7E4C-BE01-88A7D58326FB}"/>
              </a:ext>
            </a:extLst>
          </p:cNvPr>
          <p:cNvSpPr>
            <a:spLocks noGrp="1"/>
          </p:cNvSpPr>
          <p:nvPr>
            <p:ph type="body" sz="quarter" idx="11"/>
          </p:nvPr>
        </p:nvSpPr>
        <p:spPr>
          <a:xfrm>
            <a:off x="421531" y="1451834"/>
            <a:ext cx="11324083" cy="400050"/>
          </a:xfrm>
          <a:prstGeom prst="rect">
            <a:avLst/>
          </a:prstGeom>
        </p:spPr>
        <p:txBody>
          <a:bodyPr/>
          <a:lstStyle>
            <a:lvl1pPr marL="0" indent="0">
              <a:buNone/>
              <a:defRPr sz="2000" b="1">
                <a:solidFill>
                  <a:srgbClr val="649A3D"/>
                </a:solidFill>
                <a:latin typeface="Arial" panose="020B0604020202020204" pitchFamily="34" charset="0"/>
                <a:ea typeface="Segoe UI Historic" panose="020B0502040204020203" pitchFamily="34" charset="0"/>
                <a:cs typeface="Arial" panose="020B0604020202020204" pitchFamily="34" charset="0"/>
              </a:defRPr>
            </a:lvl1pPr>
            <a:lvl2pPr marL="457200" indent="0">
              <a:buNone/>
              <a:defRPr sz="2800">
                <a:latin typeface="Segoe UI Historic" panose="020B0502040204020203" pitchFamily="34" charset="0"/>
                <a:ea typeface="Segoe UI Historic" panose="020B0502040204020203" pitchFamily="34" charset="0"/>
                <a:cs typeface="Segoe UI Historic" panose="020B0502040204020203" pitchFamily="34" charset="0"/>
              </a:defRPr>
            </a:lvl2pPr>
            <a:lvl3pPr marL="914400" indent="0">
              <a:buNone/>
              <a:defRPr sz="2400">
                <a:latin typeface="Segoe UI Historic" panose="020B0502040204020203" pitchFamily="34" charset="0"/>
                <a:ea typeface="Segoe UI Historic" panose="020B0502040204020203" pitchFamily="34" charset="0"/>
                <a:cs typeface="Segoe UI Historic" panose="020B0502040204020203" pitchFamily="34" charset="0"/>
              </a:defRPr>
            </a:lvl3pPr>
            <a:lvl4pPr marL="1371600" indent="0">
              <a:buNone/>
              <a:defRPr sz="2000">
                <a:latin typeface="Segoe UI Historic" panose="020B0502040204020203" pitchFamily="34" charset="0"/>
                <a:ea typeface="Segoe UI Historic" panose="020B0502040204020203" pitchFamily="34" charset="0"/>
                <a:cs typeface="Segoe UI Historic" panose="020B0502040204020203" pitchFamily="34" charset="0"/>
              </a:defRPr>
            </a:lvl4pPr>
            <a:lvl5pPr marL="1828800" indent="0">
              <a:buNone/>
              <a:defRPr sz="2000">
                <a:latin typeface="Segoe UI Historic" panose="020B0502040204020203" pitchFamily="34" charset="0"/>
                <a:ea typeface="Segoe UI Historic" panose="020B0502040204020203" pitchFamily="34" charset="0"/>
                <a:cs typeface="Segoe UI Historic" panose="020B0502040204020203" pitchFamily="34" charset="0"/>
              </a:defRPr>
            </a:lvl5pPr>
          </a:lstStyle>
          <a:p>
            <a:pPr lvl="0"/>
            <a:r>
              <a:rPr lang="en-US"/>
              <a:t>Click to edit Master text styles</a:t>
            </a:r>
          </a:p>
        </p:txBody>
      </p:sp>
      <p:cxnSp>
        <p:nvCxnSpPr>
          <p:cNvPr id="11" name="Straight Connector 10">
            <a:extLst>
              <a:ext uri="{FF2B5EF4-FFF2-40B4-BE49-F238E27FC236}">
                <a16:creationId xmlns:a16="http://schemas.microsoft.com/office/drawing/2014/main" id="{63104207-C65B-1343-AA12-8A25B65B8D18}"/>
              </a:ext>
            </a:extLst>
          </p:cNvPr>
          <p:cNvCxnSpPr>
            <a:cxnSpLocks/>
          </p:cNvCxnSpPr>
          <p:nvPr userDrawn="1"/>
        </p:nvCxnSpPr>
        <p:spPr>
          <a:xfrm>
            <a:off x="515073" y="1249680"/>
            <a:ext cx="11676927" cy="0"/>
          </a:xfrm>
          <a:prstGeom prst="line">
            <a:avLst/>
          </a:prstGeom>
          <a:ln w="50800" cap="flat" cmpd="sng">
            <a:solidFill>
              <a:srgbClr val="649A3D"/>
            </a:solidFill>
            <a:prstDash val="solid"/>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12AA9203-8B1A-7B4F-9B58-474CE26F7385}"/>
              </a:ext>
            </a:extLst>
          </p:cNvPr>
          <p:cNvSpPr>
            <a:spLocks noGrp="1"/>
          </p:cNvSpPr>
          <p:nvPr>
            <p:ph type="ftr" sz="quarter" idx="12"/>
          </p:nvPr>
        </p:nvSpPr>
        <p:spPr/>
        <p:txBody>
          <a:bodyPr/>
          <a:lstStyle/>
          <a:p>
            <a:endParaRPr lang="en-US"/>
          </a:p>
        </p:txBody>
      </p:sp>
      <p:sp>
        <p:nvSpPr>
          <p:cNvPr id="21" name="Title 20">
            <a:extLst>
              <a:ext uri="{FF2B5EF4-FFF2-40B4-BE49-F238E27FC236}">
                <a16:creationId xmlns:a16="http://schemas.microsoft.com/office/drawing/2014/main" id="{3B3C6163-9A98-6B41-B176-5647E0464D6E}"/>
              </a:ext>
            </a:extLst>
          </p:cNvPr>
          <p:cNvSpPr>
            <a:spLocks noGrp="1"/>
          </p:cNvSpPr>
          <p:nvPr>
            <p:ph type="title"/>
          </p:nvPr>
        </p:nvSpPr>
        <p:spPr>
          <a:xfrm>
            <a:off x="421532" y="295156"/>
            <a:ext cx="11324083" cy="89703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08A163C8-F099-5045-9F79-A35A55F9C800}"/>
              </a:ext>
            </a:extLst>
          </p:cNvPr>
          <p:cNvSpPr>
            <a:spLocks noGrp="1"/>
          </p:cNvSpPr>
          <p:nvPr>
            <p:ph sz="quarter" idx="15"/>
          </p:nvPr>
        </p:nvSpPr>
        <p:spPr>
          <a:xfrm>
            <a:off x="421531" y="2011363"/>
            <a:ext cx="11324083" cy="43142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486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amp; Chart">
    <p:spTree>
      <p:nvGrpSpPr>
        <p:cNvPr id="1" name=""/>
        <p:cNvGrpSpPr/>
        <p:nvPr/>
      </p:nvGrpSpPr>
      <p:grpSpPr>
        <a:xfrm>
          <a:off x="0" y="0"/>
          <a:ext cx="0" cy="0"/>
          <a:chOff x="0" y="0"/>
          <a:chExt cx="0" cy="0"/>
        </a:xfrm>
      </p:grpSpPr>
      <p:sp>
        <p:nvSpPr>
          <p:cNvPr id="3" name="TextBox 2"/>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4" name="TextBox 3"/>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sp>
        <p:nvSpPr>
          <p:cNvPr id="10" name="Rectangle 9"/>
          <p:cNvSpPr/>
          <p:nvPr userDrawn="1"/>
        </p:nvSpPr>
        <p:spPr>
          <a:xfrm>
            <a:off x="0" y="0"/>
            <a:ext cx="12192000" cy="845820"/>
          </a:xfrm>
          <a:prstGeom prst="rect">
            <a:avLst/>
          </a:prstGeom>
          <a:solidFill>
            <a:srgbClr val="1575A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1" name="Rectangle 10"/>
          <p:cNvSpPr/>
          <p:nvPr userDrawn="1"/>
        </p:nvSpPr>
        <p:spPr>
          <a:xfrm>
            <a:off x="6934200" y="8248"/>
            <a:ext cx="1752600" cy="599900"/>
          </a:xfrm>
          <a:prstGeom prst="rect">
            <a:avLst/>
          </a:prstGeom>
          <a:solidFill>
            <a:srgbClr val="008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2" name="Rectangle 11"/>
          <p:cNvSpPr/>
          <p:nvPr userDrawn="1"/>
        </p:nvSpPr>
        <p:spPr>
          <a:xfrm>
            <a:off x="5181600" y="608149"/>
            <a:ext cx="1752600" cy="246528"/>
          </a:xfrm>
          <a:prstGeom prst="rect">
            <a:avLst/>
          </a:prstGeom>
          <a:solidFill>
            <a:srgbClr val="008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cxnSp>
        <p:nvCxnSpPr>
          <p:cNvPr id="13" name="Straight Connector 12"/>
          <p:cNvCxnSpPr/>
          <p:nvPr userDrawn="1"/>
        </p:nvCxnSpPr>
        <p:spPr>
          <a:xfrm>
            <a:off x="6934200" y="608148"/>
            <a:ext cx="52578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6934200" y="0"/>
            <a:ext cx="0" cy="854676"/>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10450286" y="0"/>
            <a:ext cx="0" cy="854676"/>
          </a:xfrm>
          <a:prstGeom prst="line">
            <a:avLst/>
          </a:prstGeom>
        </p:spPr>
        <p:style>
          <a:lnRef idx="1">
            <a:schemeClr val="accent1"/>
          </a:lnRef>
          <a:fillRef idx="0">
            <a:schemeClr val="accent1"/>
          </a:fillRef>
          <a:effectRef idx="0">
            <a:schemeClr val="accent1"/>
          </a:effectRef>
          <a:fontRef idx="minor">
            <a:schemeClr val="tx1"/>
          </a:fontRef>
        </p:style>
      </p:cxnSp>
      <p:sp>
        <p:nvSpPr>
          <p:cNvPr id="21" name="Title 1"/>
          <p:cNvSpPr>
            <a:spLocks noGrp="1"/>
          </p:cNvSpPr>
          <p:nvPr>
            <p:ph type="title"/>
          </p:nvPr>
        </p:nvSpPr>
        <p:spPr>
          <a:xfrm>
            <a:off x="442785" y="0"/>
            <a:ext cx="10911016" cy="854676"/>
          </a:xfrm>
        </p:spPr>
        <p:txBody>
          <a:bodyPr>
            <a:normAutofit/>
          </a:bodyPr>
          <a:lstStyle>
            <a:lvl1pPr>
              <a:defRPr sz="3000">
                <a:solidFill>
                  <a:schemeClr val="bg1"/>
                </a:solidFill>
              </a:defRPr>
            </a:lvl1pPr>
          </a:lstStyle>
          <a:p>
            <a:r>
              <a:rPr lang="en-US"/>
              <a:t>Click to edit Master title style</a:t>
            </a:r>
          </a:p>
        </p:txBody>
      </p:sp>
      <p:sp>
        <p:nvSpPr>
          <p:cNvPr id="23" name="Chart Placeholder 4"/>
          <p:cNvSpPr>
            <a:spLocks noGrp="1"/>
          </p:cNvSpPr>
          <p:nvPr>
            <p:ph type="chart" sz="quarter" idx="12"/>
          </p:nvPr>
        </p:nvSpPr>
        <p:spPr>
          <a:xfrm>
            <a:off x="6879167" y="1091514"/>
            <a:ext cx="5138208" cy="4952893"/>
          </a:xfrm>
        </p:spPr>
        <p:txBody>
          <a:bodyPr/>
          <a:lstStyle>
            <a:lvl1pPr>
              <a:defRPr>
                <a:solidFill>
                  <a:schemeClr val="tx1"/>
                </a:solidFill>
              </a:defRPr>
            </a:lvl1pPr>
          </a:lstStyle>
          <a:p>
            <a:endParaRPr lang="en-US"/>
          </a:p>
        </p:txBody>
      </p:sp>
      <p:cxnSp>
        <p:nvCxnSpPr>
          <p:cNvPr id="24" name="Straight Connector 23"/>
          <p:cNvCxnSpPr/>
          <p:nvPr userDrawn="1"/>
        </p:nvCxnSpPr>
        <p:spPr>
          <a:xfrm flipV="1">
            <a:off x="0" y="6241143"/>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5" name="Text Placeholder 9"/>
          <p:cNvSpPr>
            <a:spLocks noGrp="1"/>
          </p:cNvSpPr>
          <p:nvPr>
            <p:ph type="body" sz="quarter" idx="10" hasCustomPrompt="1"/>
          </p:nvPr>
        </p:nvSpPr>
        <p:spPr>
          <a:xfrm>
            <a:off x="443178" y="957792"/>
            <a:ext cx="6262948" cy="380355"/>
          </a:xfrm>
        </p:spPr>
        <p:txBody>
          <a:bodyPr>
            <a:noAutofit/>
          </a:bodyPr>
          <a:lstStyle>
            <a:lvl1pPr>
              <a:defRPr sz="2333" b="0" baseline="0">
                <a:solidFill>
                  <a:schemeClr val="accent5"/>
                </a:solidFill>
              </a:defRPr>
            </a:lvl1pPr>
          </a:lstStyle>
          <a:p>
            <a:pPr lvl="0"/>
            <a:r>
              <a:rPr lang="en-US"/>
              <a:t>Subhead goes here</a:t>
            </a:r>
          </a:p>
        </p:txBody>
      </p:sp>
      <p:sp>
        <p:nvSpPr>
          <p:cNvPr id="26" name="Text Placeholder 9"/>
          <p:cNvSpPr>
            <a:spLocks noGrp="1"/>
          </p:cNvSpPr>
          <p:nvPr>
            <p:ph type="body" sz="quarter" idx="11" hasCustomPrompt="1"/>
          </p:nvPr>
        </p:nvSpPr>
        <p:spPr>
          <a:xfrm>
            <a:off x="443178" y="1427209"/>
            <a:ext cx="6262948" cy="529683"/>
          </a:xfrm>
        </p:spPr>
        <p:txBody>
          <a:bodyPr>
            <a:normAutofit/>
          </a:bodyPr>
          <a:lstStyle>
            <a:lvl1pPr>
              <a:defRPr sz="2000" b="0" i="1" baseline="0">
                <a:solidFill>
                  <a:schemeClr val="tx1"/>
                </a:solidFill>
              </a:defRPr>
            </a:lvl1pPr>
          </a:lstStyle>
          <a:p>
            <a:pPr lvl="0"/>
            <a:r>
              <a:rPr lang="en-US"/>
              <a:t>Click to edit text</a:t>
            </a:r>
          </a:p>
        </p:txBody>
      </p:sp>
      <p:sp>
        <p:nvSpPr>
          <p:cNvPr id="27" name="Content Placeholder 2"/>
          <p:cNvSpPr>
            <a:spLocks noGrp="1"/>
          </p:cNvSpPr>
          <p:nvPr>
            <p:ph idx="1" hasCustomPrompt="1"/>
          </p:nvPr>
        </p:nvSpPr>
        <p:spPr>
          <a:xfrm>
            <a:off x="649941" y="2045954"/>
            <a:ext cx="6144559" cy="4076323"/>
          </a:xfrm>
        </p:spPr>
        <p:txBody>
          <a:bodyPr>
            <a:normAutofit/>
          </a:bodyPr>
          <a:lstStyle>
            <a:lvl1pPr>
              <a:defRPr sz="2000" b="0">
                <a:solidFill>
                  <a:schemeClr val="tx1"/>
                </a:solidFill>
              </a:defRPr>
            </a:lvl1pPr>
            <a:lvl2pPr>
              <a:buClr>
                <a:schemeClr val="accent1"/>
              </a:buClr>
              <a:buSzPct val="100000"/>
              <a:defRPr sz="2000">
                <a:solidFill>
                  <a:schemeClr val="tx1"/>
                </a:solidFill>
              </a:defRPr>
            </a:lvl2pPr>
            <a:lvl3pPr marL="525177" indent="-238115">
              <a:buClr>
                <a:schemeClr val="accent1"/>
              </a:buClr>
              <a:buSzPct val="90000"/>
              <a:buFont typeface="Calibri" panose="020F0502020204030204" pitchFamily="34" charset="0"/>
              <a:buChar char="–"/>
              <a:defRPr sz="2000">
                <a:solidFill>
                  <a:schemeClr val="tx1"/>
                </a:solidFill>
              </a:defRPr>
            </a:lvl3pPr>
            <a:lvl4pPr marL="761970" indent="-227533">
              <a:buClr>
                <a:schemeClr val="accent1"/>
              </a:buClr>
              <a:buSzPct val="90000"/>
              <a:buFont typeface="Courier New" panose="02070309020205020404" pitchFamily="49" charset="0"/>
              <a:buChar char="o"/>
              <a:defRPr sz="2000">
                <a:solidFill>
                  <a:schemeClr val="tx1"/>
                </a:solidFill>
              </a:defRPr>
            </a:lvl4pPr>
            <a:lvl5pPr>
              <a:buClr>
                <a:schemeClr val="accent4"/>
              </a:buClr>
              <a:defRPr sz="20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7" name="Picture 1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7068" y="6436854"/>
            <a:ext cx="1591732" cy="240573"/>
          </a:xfrm>
          <a:prstGeom prst="rect">
            <a:avLst/>
          </a:prstGeom>
        </p:spPr>
      </p:pic>
    </p:spTree>
    <p:extLst>
      <p:ext uri="{BB962C8B-B14F-4D97-AF65-F5344CB8AC3E}">
        <p14:creationId xmlns:p14="http://schemas.microsoft.com/office/powerpoint/2010/main" val="230434310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3" name="TextBox 2"/>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4" name="TextBox 3"/>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cxnSp>
        <p:nvCxnSpPr>
          <p:cNvPr id="6" name="Straight Connector 5"/>
          <p:cNvCxnSpPr/>
          <p:nvPr userDrawn="1"/>
        </p:nvCxnSpPr>
        <p:spPr>
          <a:xfrm flipV="1">
            <a:off x="0" y="6241143"/>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a:xfrm>
            <a:off x="0" y="0"/>
            <a:ext cx="12192000" cy="845820"/>
          </a:xfrm>
          <a:prstGeom prst="rect">
            <a:avLst/>
          </a:prstGeom>
          <a:solidFill>
            <a:srgbClr val="1575A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1" name="Rectangle 10"/>
          <p:cNvSpPr/>
          <p:nvPr userDrawn="1"/>
        </p:nvSpPr>
        <p:spPr>
          <a:xfrm>
            <a:off x="6934200" y="8248"/>
            <a:ext cx="1752600" cy="599900"/>
          </a:xfrm>
          <a:prstGeom prst="rect">
            <a:avLst/>
          </a:prstGeom>
          <a:solidFill>
            <a:srgbClr val="008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2" name="Rectangle 11"/>
          <p:cNvSpPr/>
          <p:nvPr userDrawn="1"/>
        </p:nvSpPr>
        <p:spPr>
          <a:xfrm>
            <a:off x="5181600" y="608149"/>
            <a:ext cx="1752600" cy="246528"/>
          </a:xfrm>
          <a:prstGeom prst="rect">
            <a:avLst/>
          </a:prstGeom>
          <a:solidFill>
            <a:srgbClr val="008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cxnSp>
        <p:nvCxnSpPr>
          <p:cNvPr id="13" name="Straight Connector 12"/>
          <p:cNvCxnSpPr/>
          <p:nvPr userDrawn="1"/>
        </p:nvCxnSpPr>
        <p:spPr>
          <a:xfrm>
            <a:off x="6934200" y="608148"/>
            <a:ext cx="52578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6934200" y="0"/>
            <a:ext cx="0" cy="854676"/>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10450286" y="0"/>
            <a:ext cx="0" cy="854676"/>
          </a:xfrm>
          <a:prstGeom prst="line">
            <a:avLst/>
          </a:prstGeom>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442785" y="0"/>
            <a:ext cx="10911016" cy="854676"/>
          </a:xfrm>
        </p:spPr>
        <p:txBody>
          <a:bodyPr>
            <a:normAutofit/>
          </a:bodyPr>
          <a:lstStyle>
            <a:lvl1pPr>
              <a:defRPr sz="3000">
                <a:solidFill>
                  <a:schemeClr val="bg1"/>
                </a:solidFill>
              </a:defRPr>
            </a:lvl1pPr>
          </a:lstStyle>
          <a:p>
            <a:r>
              <a:rPr lang="en-US"/>
              <a:t>Click to edit Master title style</a:t>
            </a:r>
          </a:p>
        </p:txBody>
      </p:sp>
      <p:pic>
        <p:nvPicPr>
          <p:cNvPr id="17" name="Picture 1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7068" y="6436854"/>
            <a:ext cx="1591732" cy="240573"/>
          </a:xfrm>
          <a:prstGeom prst="rect">
            <a:avLst/>
          </a:prstGeom>
        </p:spPr>
      </p:pic>
    </p:spTree>
    <p:extLst>
      <p:ext uri="{BB962C8B-B14F-4D97-AF65-F5344CB8AC3E}">
        <p14:creationId xmlns:p14="http://schemas.microsoft.com/office/powerpoint/2010/main" val="381562380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extBox 2"/>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4" name="TextBox 3"/>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cxnSp>
        <p:nvCxnSpPr>
          <p:cNvPr id="6" name="Straight Connector 5"/>
          <p:cNvCxnSpPr/>
          <p:nvPr userDrawn="1"/>
        </p:nvCxnSpPr>
        <p:spPr>
          <a:xfrm flipV="1">
            <a:off x="0" y="6241143"/>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 name="Title 1"/>
          <p:cNvSpPr>
            <a:spLocks noGrp="1"/>
          </p:cNvSpPr>
          <p:nvPr>
            <p:ph type="title"/>
          </p:nvPr>
        </p:nvSpPr>
        <p:spPr>
          <a:xfrm>
            <a:off x="710514" y="669324"/>
            <a:ext cx="6209271" cy="2090352"/>
          </a:xfrm>
        </p:spPr>
        <p:txBody>
          <a:bodyPr anchor="b">
            <a:normAutofit/>
          </a:bodyPr>
          <a:lstStyle>
            <a:lvl1pPr>
              <a:defRPr sz="2333" b="0" i="1">
                <a:solidFill>
                  <a:schemeClr val="accent2"/>
                </a:solidFill>
              </a:defRPr>
            </a:lvl1pPr>
          </a:lstStyle>
          <a:p>
            <a:r>
              <a:rPr lang="en-US"/>
              <a:t>Click to edit Master title style</a:t>
            </a:r>
          </a:p>
        </p:txBody>
      </p:sp>
      <p:sp>
        <p:nvSpPr>
          <p:cNvPr id="8" name="Text Placeholder 9"/>
          <p:cNvSpPr>
            <a:spLocks noGrp="1"/>
          </p:cNvSpPr>
          <p:nvPr>
            <p:ph type="body" sz="quarter" idx="10" hasCustomPrompt="1"/>
          </p:nvPr>
        </p:nvSpPr>
        <p:spPr>
          <a:xfrm>
            <a:off x="838729" y="3335896"/>
            <a:ext cx="6081448" cy="278456"/>
          </a:xfrm>
        </p:spPr>
        <p:txBody>
          <a:bodyPr/>
          <a:lstStyle>
            <a:lvl1pPr>
              <a:defRPr sz="2000" b="0">
                <a:solidFill>
                  <a:schemeClr val="accent2"/>
                </a:solidFill>
              </a:defRPr>
            </a:lvl1pPr>
            <a:lvl2pPr marL="0" indent="0">
              <a:buNone/>
              <a:defRPr sz="2000">
                <a:solidFill>
                  <a:schemeClr val="accent2"/>
                </a:solidFill>
              </a:defRPr>
            </a:lvl2pPr>
          </a:lstStyle>
          <a:p>
            <a:pPr lvl="0"/>
            <a:r>
              <a:rPr lang="en-US"/>
              <a:t>First Last Name</a:t>
            </a:r>
          </a:p>
          <a:p>
            <a:pPr lvl="1"/>
            <a:endParaRPr lang="en-US"/>
          </a:p>
        </p:txBody>
      </p:sp>
      <p:sp>
        <p:nvSpPr>
          <p:cNvPr id="9" name="Text Placeholder 9"/>
          <p:cNvSpPr>
            <a:spLocks noGrp="1"/>
          </p:cNvSpPr>
          <p:nvPr>
            <p:ph type="body" sz="quarter" idx="11" hasCustomPrompt="1"/>
          </p:nvPr>
        </p:nvSpPr>
        <p:spPr>
          <a:xfrm>
            <a:off x="838729" y="3634518"/>
            <a:ext cx="6081448" cy="278456"/>
          </a:xfrm>
        </p:spPr>
        <p:txBody>
          <a:bodyPr>
            <a:noAutofit/>
          </a:bodyPr>
          <a:lstStyle>
            <a:lvl1pPr>
              <a:defRPr sz="2000" b="0">
                <a:solidFill>
                  <a:schemeClr val="accent2"/>
                </a:solidFill>
              </a:defRPr>
            </a:lvl1pPr>
            <a:lvl2pPr marL="0" indent="0">
              <a:buNone/>
              <a:defRPr sz="2000">
                <a:solidFill>
                  <a:schemeClr val="accent2"/>
                </a:solidFill>
              </a:defRPr>
            </a:lvl2pPr>
          </a:lstStyle>
          <a:p>
            <a:pPr lvl="0"/>
            <a:r>
              <a:rPr lang="en-US"/>
              <a:t>Title, Company</a:t>
            </a:r>
          </a:p>
          <a:p>
            <a:pPr lvl="1"/>
            <a:endParaRPr lang="en-US"/>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7068" y="6436854"/>
            <a:ext cx="1591732" cy="240573"/>
          </a:xfrm>
          <a:prstGeom prst="rect">
            <a:avLst/>
          </a:prstGeom>
        </p:spPr>
      </p:pic>
    </p:spTree>
    <p:extLst>
      <p:ext uri="{BB962C8B-B14F-4D97-AF65-F5344CB8AC3E}">
        <p14:creationId xmlns:p14="http://schemas.microsoft.com/office/powerpoint/2010/main" val="160409690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Main Section ">
    <p:spTree>
      <p:nvGrpSpPr>
        <p:cNvPr id="1" name=""/>
        <p:cNvGrpSpPr/>
        <p:nvPr/>
      </p:nvGrpSpPr>
      <p:grpSpPr>
        <a:xfrm>
          <a:off x="0" y="0"/>
          <a:ext cx="0" cy="0"/>
          <a:chOff x="0" y="0"/>
          <a:chExt cx="0" cy="0"/>
        </a:xfrm>
      </p:grpSpPr>
      <p:sp>
        <p:nvSpPr>
          <p:cNvPr id="4" name="TextBox 3"/>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5" name="TextBox 4"/>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cxnSp>
        <p:nvCxnSpPr>
          <p:cNvPr id="7" name="Straight Connector 6"/>
          <p:cNvCxnSpPr/>
          <p:nvPr userDrawn="1"/>
        </p:nvCxnSpPr>
        <p:spPr>
          <a:xfrm flipV="1">
            <a:off x="0" y="6241143"/>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5949248" cy="6347534"/>
          </a:xfrm>
          <a:prstGeom prst="rect">
            <a:avLst/>
          </a:prstGeom>
        </p:spPr>
      </p:pic>
      <p:sp>
        <p:nvSpPr>
          <p:cNvPr id="13" name="Title 1"/>
          <p:cNvSpPr>
            <a:spLocks noGrp="1"/>
          </p:cNvSpPr>
          <p:nvPr>
            <p:ph type="title" hasCustomPrompt="1"/>
          </p:nvPr>
        </p:nvSpPr>
        <p:spPr>
          <a:xfrm>
            <a:off x="3798627" y="2297466"/>
            <a:ext cx="7026688" cy="1752600"/>
          </a:xfrm>
        </p:spPr>
        <p:txBody>
          <a:bodyPr anchor="ctr">
            <a:noAutofit/>
          </a:bodyPr>
          <a:lstStyle>
            <a:lvl1pPr>
              <a:defRPr sz="6000" b="1">
                <a:solidFill>
                  <a:schemeClr val="accent2"/>
                </a:solidFill>
              </a:defRPr>
            </a:lvl1pPr>
          </a:lstStyle>
          <a:p>
            <a:r>
              <a:rPr lang="en-US"/>
              <a:t>Click to edit Section Header</a:t>
            </a:r>
          </a:p>
        </p:txBody>
      </p:sp>
      <p:pic>
        <p:nvPicPr>
          <p:cNvPr id="11" name="Pictur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37068" y="6436854"/>
            <a:ext cx="1591732" cy="240573"/>
          </a:xfrm>
          <a:prstGeom prst="rect">
            <a:avLst/>
          </a:prstGeom>
        </p:spPr>
      </p:pic>
    </p:spTree>
    <p:extLst>
      <p:ext uri="{BB962C8B-B14F-4D97-AF65-F5344CB8AC3E}">
        <p14:creationId xmlns:p14="http://schemas.microsoft.com/office/powerpoint/2010/main" val="350935650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ub Section">
    <p:spTree>
      <p:nvGrpSpPr>
        <p:cNvPr id="1" name=""/>
        <p:cNvGrpSpPr/>
        <p:nvPr/>
      </p:nvGrpSpPr>
      <p:grpSpPr>
        <a:xfrm>
          <a:off x="0" y="0"/>
          <a:ext cx="0" cy="0"/>
          <a:chOff x="0" y="0"/>
          <a:chExt cx="0" cy="0"/>
        </a:xfrm>
      </p:grpSpPr>
      <p:sp>
        <p:nvSpPr>
          <p:cNvPr id="3" name="Rectangle 2"/>
          <p:cNvSpPr/>
          <p:nvPr userDrawn="1"/>
        </p:nvSpPr>
        <p:spPr>
          <a:xfrm>
            <a:off x="0" y="1333499"/>
            <a:ext cx="12192000" cy="243114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Box 3"/>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5" name="TextBox 4"/>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sp>
        <p:nvSpPr>
          <p:cNvPr id="7" name="Rectangle 6"/>
          <p:cNvSpPr/>
          <p:nvPr userDrawn="1"/>
        </p:nvSpPr>
        <p:spPr>
          <a:xfrm>
            <a:off x="5234215" y="2113643"/>
            <a:ext cx="1750786" cy="1651000"/>
          </a:xfrm>
          <a:prstGeom prst="rect">
            <a:avLst/>
          </a:prstGeom>
          <a:solidFill>
            <a:srgbClr val="0083A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8" name="Rectangle 7"/>
          <p:cNvSpPr/>
          <p:nvPr userDrawn="1"/>
        </p:nvSpPr>
        <p:spPr>
          <a:xfrm>
            <a:off x="6985000" y="1351642"/>
            <a:ext cx="1750786" cy="771072"/>
          </a:xfrm>
          <a:prstGeom prst="rect">
            <a:avLst/>
          </a:prstGeom>
          <a:solidFill>
            <a:srgbClr val="0083A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cxnSp>
        <p:nvCxnSpPr>
          <p:cNvPr id="9" name="Straight Connector 8"/>
          <p:cNvCxnSpPr/>
          <p:nvPr userDrawn="1"/>
        </p:nvCxnSpPr>
        <p:spPr>
          <a:xfrm>
            <a:off x="0" y="2122714"/>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755822" y="2193324"/>
            <a:ext cx="11157303" cy="556054"/>
          </a:xfrm>
        </p:spPr>
        <p:txBody>
          <a:bodyPr anchor="ctr">
            <a:noAutofit/>
          </a:bodyPr>
          <a:lstStyle>
            <a:lvl1pPr>
              <a:defRPr sz="5000" b="1">
                <a:solidFill>
                  <a:schemeClr val="bg1"/>
                </a:solidFill>
              </a:defRPr>
            </a:lvl1pPr>
          </a:lstStyle>
          <a:p>
            <a:r>
              <a:rPr lang="en-US"/>
              <a:t>Click to edit Section Header</a:t>
            </a:r>
          </a:p>
        </p:txBody>
      </p:sp>
      <p:cxnSp>
        <p:nvCxnSpPr>
          <p:cNvPr id="11" name="Straight Connector 10"/>
          <p:cNvCxnSpPr/>
          <p:nvPr userDrawn="1"/>
        </p:nvCxnSpPr>
        <p:spPr>
          <a:xfrm>
            <a:off x="10468428" y="1333499"/>
            <a:ext cx="0" cy="2430780"/>
          </a:xfrm>
          <a:prstGeom prst="line">
            <a:avLst/>
          </a:prstGeom>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7068" y="6436854"/>
            <a:ext cx="1591732" cy="240573"/>
          </a:xfrm>
          <a:prstGeom prst="rect">
            <a:avLst/>
          </a:prstGeom>
        </p:spPr>
      </p:pic>
    </p:spTree>
    <p:extLst>
      <p:ext uri="{BB962C8B-B14F-4D97-AF65-F5344CB8AC3E}">
        <p14:creationId xmlns:p14="http://schemas.microsoft.com/office/powerpoint/2010/main" val="42872495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al Background">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442785" y="0"/>
            <a:ext cx="10911016" cy="854676"/>
          </a:xfrm>
        </p:spPr>
        <p:txBody>
          <a:bodyPr>
            <a:normAutofit/>
          </a:bodyPr>
          <a:lstStyle>
            <a:lvl1pPr>
              <a:defRPr sz="3000">
                <a:solidFill>
                  <a:schemeClr val="bg1"/>
                </a:solidFill>
              </a:defRPr>
            </a:lvl1pPr>
          </a:lstStyle>
          <a:p>
            <a:r>
              <a:rPr lang="en-US"/>
              <a:t>Click to edit Master title style</a:t>
            </a:r>
          </a:p>
        </p:txBody>
      </p:sp>
      <p:sp>
        <p:nvSpPr>
          <p:cNvPr id="5" name="TextBox 4"/>
          <p:cNvSpPr txBox="1"/>
          <p:nvPr userDrawn="1"/>
        </p:nvSpPr>
        <p:spPr>
          <a:xfrm>
            <a:off x="8997027" y="6414935"/>
            <a:ext cx="2741456" cy="246221"/>
          </a:xfrm>
          <a:prstGeom prst="rect">
            <a:avLst/>
          </a:prstGeom>
          <a:noFill/>
        </p:spPr>
        <p:txBody>
          <a:bodyPr wrap="none" rtlCol="0">
            <a:spAutoFit/>
          </a:bodyPr>
          <a:lstStyle/>
          <a:p>
            <a:r>
              <a:rPr lang="en-US" sz="1000">
                <a:solidFill>
                  <a:schemeClr val="bg1"/>
                </a:solidFill>
              </a:rPr>
              <a:t>Confidential | ©2003-2021 Force Management |</a:t>
            </a:r>
          </a:p>
        </p:txBody>
      </p:sp>
      <p:sp>
        <p:nvSpPr>
          <p:cNvPr id="8" name="TextBox 7"/>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chemeClr val="bg1"/>
                </a:solidFill>
              </a:rPr>
              <a:pPr/>
              <a:t>‹#›</a:t>
            </a:fld>
            <a:endParaRPr lang="en-US" sz="1000" b="1">
              <a:solidFill>
                <a:schemeClr val="bg1"/>
              </a:solidFill>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6220" y="6433425"/>
            <a:ext cx="1584960" cy="239550"/>
          </a:xfrm>
          <a:prstGeom prst="rect">
            <a:avLst/>
          </a:prstGeom>
        </p:spPr>
      </p:pic>
    </p:spTree>
    <p:extLst>
      <p:ext uri="{BB962C8B-B14F-4D97-AF65-F5344CB8AC3E}">
        <p14:creationId xmlns:p14="http://schemas.microsoft.com/office/powerpoint/2010/main" val="28051955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ue Background">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442785" y="0"/>
            <a:ext cx="10911016" cy="854676"/>
          </a:xfrm>
        </p:spPr>
        <p:txBody>
          <a:bodyPr>
            <a:normAutofit/>
          </a:bodyPr>
          <a:lstStyle>
            <a:lvl1pPr>
              <a:defRPr sz="3000">
                <a:solidFill>
                  <a:schemeClr val="bg1"/>
                </a:solidFill>
              </a:defRPr>
            </a:lvl1pPr>
          </a:lstStyle>
          <a:p>
            <a:r>
              <a:rPr lang="en-US"/>
              <a:t>Click to edit Master title style</a:t>
            </a:r>
          </a:p>
        </p:txBody>
      </p:sp>
      <p:sp>
        <p:nvSpPr>
          <p:cNvPr id="5" name="TextBox 4"/>
          <p:cNvSpPr txBox="1"/>
          <p:nvPr userDrawn="1"/>
        </p:nvSpPr>
        <p:spPr>
          <a:xfrm>
            <a:off x="8997027" y="6414935"/>
            <a:ext cx="2741456" cy="246221"/>
          </a:xfrm>
          <a:prstGeom prst="rect">
            <a:avLst/>
          </a:prstGeom>
          <a:noFill/>
        </p:spPr>
        <p:txBody>
          <a:bodyPr wrap="none" rtlCol="0">
            <a:spAutoFit/>
          </a:bodyPr>
          <a:lstStyle/>
          <a:p>
            <a:r>
              <a:rPr lang="en-US" sz="1000">
                <a:solidFill>
                  <a:schemeClr val="bg1"/>
                </a:solidFill>
              </a:rPr>
              <a:t>Confidential | ©2003-2021 Force Management |</a:t>
            </a:r>
          </a:p>
        </p:txBody>
      </p:sp>
      <p:sp>
        <p:nvSpPr>
          <p:cNvPr id="8" name="TextBox 7"/>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chemeClr val="bg1"/>
                </a:solidFill>
              </a:rPr>
              <a:pPr/>
              <a:t>‹#›</a:t>
            </a:fld>
            <a:endParaRPr lang="en-US" sz="1000" b="1">
              <a:solidFill>
                <a:schemeClr val="bg1"/>
              </a:solidFill>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6220" y="6433425"/>
            <a:ext cx="1584960" cy="239550"/>
          </a:xfrm>
          <a:prstGeom prst="rect">
            <a:avLst/>
          </a:prstGeom>
        </p:spPr>
      </p:pic>
    </p:spTree>
    <p:extLst>
      <p:ext uri="{BB962C8B-B14F-4D97-AF65-F5344CB8AC3E}">
        <p14:creationId xmlns:p14="http://schemas.microsoft.com/office/powerpoint/2010/main" val="280008791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extBox 1"/>
          <p:cNvSpPr txBox="1"/>
          <p:nvPr userDrawn="1"/>
        </p:nvSpPr>
        <p:spPr>
          <a:xfrm>
            <a:off x="8997027" y="6414935"/>
            <a:ext cx="2741456" cy="246221"/>
          </a:xfrm>
          <a:prstGeom prst="rect">
            <a:avLst/>
          </a:prstGeom>
          <a:noFill/>
        </p:spPr>
        <p:txBody>
          <a:bodyPr wrap="none" rtlCol="0">
            <a:spAutoFit/>
          </a:bodyPr>
          <a:lstStyle/>
          <a:p>
            <a:r>
              <a:rPr lang="en-US" sz="1000">
                <a:solidFill>
                  <a:srgbClr val="55565A"/>
                </a:solidFill>
              </a:rPr>
              <a:t>Confidential | ©2003-2021 Force Management |</a:t>
            </a:r>
          </a:p>
        </p:txBody>
      </p:sp>
      <p:sp>
        <p:nvSpPr>
          <p:cNvPr id="3" name="TextBox 2"/>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pPr/>
              <a:t>‹#›</a:t>
            </a:fld>
            <a:endParaRPr lang="en-US" sz="1000" b="1">
              <a:solidFill>
                <a:srgbClr val="55565A"/>
              </a:solidFill>
            </a:endParaRPr>
          </a:p>
        </p:txBody>
      </p:sp>
    </p:spTree>
    <p:extLst>
      <p:ext uri="{BB962C8B-B14F-4D97-AF65-F5344CB8AC3E}">
        <p14:creationId xmlns:p14="http://schemas.microsoft.com/office/powerpoint/2010/main" val="389527967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4" name="TextBox 3"/>
          <p:cNvSpPr txBox="1"/>
          <p:nvPr userDrawn="1"/>
        </p:nvSpPr>
        <p:spPr>
          <a:xfrm>
            <a:off x="9035142" y="6414935"/>
            <a:ext cx="2709408" cy="400110"/>
          </a:xfrm>
          <a:prstGeom prst="rect">
            <a:avLst/>
          </a:prstGeom>
          <a:noFill/>
        </p:spPr>
        <p:txBody>
          <a:bodyPr wrap="square" rtlCol="0">
            <a:spAutoFit/>
          </a:bodyPr>
          <a:lstStyle/>
          <a:p>
            <a:r>
              <a:rPr lang="en-US" sz="1000">
                <a:solidFill>
                  <a:srgbClr val="55565A"/>
                </a:solidFill>
              </a:rPr>
              <a:t>Confidential | ©2003-2021 Force Management |</a:t>
            </a:r>
          </a:p>
        </p:txBody>
      </p:sp>
      <p:sp>
        <p:nvSpPr>
          <p:cNvPr id="5" name="TextBox 4"/>
          <p:cNvSpPr txBox="1"/>
          <p:nvPr userDrawn="1"/>
        </p:nvSpPr>
        <p:spPr>
          <a:xfrm>
            <a:off x="11582906" y="6414935"/>
            <a:ext cx="338554" cy="246221"/>
          </a:xfrm>
          <a:prstGeom prst="rect">
            <a:avLst/>
          </a:prstGeom>
          <a:noFill/>
        </p:spPr>
        <p:txBody>
          <a:bodyPr wrap="none" rtlCol="0">
            <a:spAutoFit/>
          </a:bodyPr>
          <a:lstStyle/>
          <a:p>
            <a:fld id="{1B7E86C4-F6F5-4116-8D41-DB058E5C6EE6}" type="slidenum">
              <a:rPr lang="en-US" sz="1000" b="1" smtClean="0">
                <a:solidFill>
                  <a:srgbClr val="55565A"/>
                </a:solidFill>
              </a:rPr>
              <a:t>‹#›</a:t>
            </a:fld>
            <a:endParaRPr lang="en-US" sz="1000" b="1">
              <a:solidFill>
                <a:srgbClr val="55565A"/>
              </a:solidFill>
            </a:endParaRPr>
          </a:p>
        </p:txBody>
      </p:sp>
      <p:cxnSp>
        <p:nvCxnSpPr>
          <p:cNvPr id="7" name="Straight Connector 6"/>
          <p:cNvCxnSpPr/>
          <p:nvPr userDrawn="1"/>
        </p:nvCxnSpPr>
        <p:spPr>
          <a:xfrm flipV="1">
            <a:off x="0" y="6241143"/>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5949248" cy="6347534"/>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37068" y="6436854"/>
            <a:ext cx="1591732" cy="240573"/>
          </a:xfrm>
          <a:prstGeom prst="rect">
            <a:avLst/>
          </a:prstGeom>
        </p:spPr>
      </p:pic>
      <p:sp>
        <p:nvSpPr>
          <p:cNvPr id="9" name="TextBox 8"/>
          <p:cNvSpPr txBox="1"/>
          <p:nvPr userDrawn="1"/>
        </p:nvSpPr>
        <p:spPr>
          <a:xfrm>
            <a:off x="5766441" y="2587649"/>
            <a:ext cx="4879338" cy="721512"/>
          </a:xfrm>
          <a:prstGeom prst="rect">
            <a:avLst/>
          </a:prstGeom>
          <a:noFill/>
        </p:spPr>
        <p:txBody>
          <a:bodyPr wrap="square" rtlCol="0" anchor="ctr">
            <a:noAutofit/>
          </a:bodyPr>
          <a:lstStyle/>
          <a:p>
            <a:pPr>
              <a:lnSpc>
                <a:spcPct val="90000"/>
              </a:lnSpc>
              <a:buClr>
                <a:srgbClr val="C4D600"/>
              </a:buClr>
            </a:pPr>
            <a:r>
              <a:rPr lang="en-US" sz="2333">
                <a:solidFill>
                  <a:schemeClr val="accent6">
                    <a:lumMod val="75000"/>
                  </a:schemeClr>
                </a:solidFill>
              </a:rPr>
              <a:t>Social | Podcasts | Sales Insights Blog</a:t>
            </a:r>
          </a:p>
        </p:txBody>
      </p:sp>
      <p:sp>
        <p:nvSpPr>
          <p:cNvPr id="10" name="TextBox 9"/>
          <p:cNvSpPr txBox="1"/>
          <p:nvPr userDrawn="1"/>
        </p:nvSpPr>
        <p:spPr>
          <a:xfrm>
            <a:off x="5766441" y="3472774"/>
            <a:ext cx="4388115" cy="719994"/>
          </a:xfrm>
          <a:prstGeom prst="rect">
            <a:avLst/>
          </a:prstGeom>
          <a:noFill/>
        </p:spPr>
        <p:txBody>
          <a:bodyPr wrap="square" rtlCol="0" anchor="ctr">
            <a:noAutofit/>
          </a:bodyPr>
          <a:lstStyle/>
          <a:p>
            <a:pPr>
              <a:lnSpc>
                <a:spcPct val="90000"/>
              </a:lnSpc>
              <a:buClr>
                <a:srgbClr val="C4D600"/>
              </a:buClr>
            </a:pPr>
            <a:r>
              <a:rPr lang="en-US" sz="2333" b="1">
                <a:solidFill>
                  <a:schemeClr val="tx2"/>
                </a:solidFill>
              </a:rPr>
              <a:t>forcemanagement.com/connect</a:t>
            </a:r>
          </a:p>
        </p:txBody>
      </p:sp>
      <p:sp>
        <p:nvSpPr>
          <p:cNvPr id="12" name="TextBox 11"/>
          <p:cNvSpPr txBox="1"/>
          <p:nvPr userDrawn="1"/>
        </p:nvSpPr>
        <p:spPr>
          <a:xfrm>
            <a:off x="5766441" y="4866313"/>
            <a:ext cx="2804103" cy="552178"/>
          </a:xfrm>
          <a:prstGeom prst="rect">
            <a:avLst/>
          </a:prstGeom>
          <a:noFill/>
        </p:spPr>
        <p:txBody>
          <a:bodyPr wrap="square" rtlCol="0" anchor="ctr">
            <a:noAutofit/>
          </a:bodyPr>
          <a:lstStyle/>
          <a:p>
            <a:pPr>
              <a:lnSpc>
                <a:spcPct val="90000"/>
              </a:lnSpc>
              <a:buClr>
                <a:srgbClr val="C4D600"/>
              </a:buClr>
            </a:pPr>
            <a:r>
              <a:rPr lang="en-US" sz="2333" b="1">
                <a:solidFill>
                  <a:schemeClr val="tx2"/>
                </a:solidFill>
              </a:rPr>
              <a:t>@</a:t>
            </a:r>
            <a:r>
              <a:rPr lang="en-US" sz="2333" b="1" err="1">
                <a:solidFill>
                  <a:schemeClr val="tx2"/>
                </a:solidFill>
              </a:rPr>
              <a:t>forcemgmt</a:t>
            </a:r>
            <a:endParaRPr lang="en-US" sz="2333" b="1">
              <a:solidFill>
                <a:schemeClr val="tx2"/>
              </a:solidFill>
            </a:endParaRPr>
          </a:p>
        </p:txBody>
      </p:sp>
      <p:sp>
        <p:nvSpPr>
          <p:cNvPr id="14" name="Freeform 13"/>
          <p:cNvSpPr>
            <a:spLocks noEditPoints="1"/>
          </p:cNvSpPr>
          <p:nvPr userDrawn="1"/>
        </p:nvSpPr>
        <p:spPr bwMode="auto">
          <a:xfrm>
            <a:off x="7097889" y="4411997"/>
            <a:ext cx="391647" cy="391647"/>
          </a:xfrm>
          <a:custGeom>
            <a:avLst/>
            <a:gdLst>
              <a:gd name="T0" fmla="*/ 1 w 1200"/>
              <a:gd name="T1" fmla="*/ 646 h 1200"/>
              <a:gd name="T2" fmla="*/ 0 w 1200"/>
              <a:gd name="T3" fmla="*/ 622 h 1200"/>
              <a:gd name="T4" fmla="*/ 600 w 1200"/>
              <a:gd name="T5" fmla="*/ 0 h 1200"/>
              <a:gd name="T6" fmla="*/ 1200 w 1200"/>
              <a:gd name="T7" fmla="*/ 622 h 1200"/>
              <a:gd name="T8" fmla="*/ 1198 w 1200"/>
              <a:gd name="T9" fmla="*/ 646 h 1200"/>
              <a:gd name="T10" fmla="*/ 600 w 1200"/>
              <a:gd name="T11" fmla="*/ 48 h 1200"/>
              <a:gd name="T12" fmla="*/ 1 w 1200"/>
              <a:gd name="T13" fmla="*/ 646 h 1200"/>
              <a:gd name="T14" fmla="*/ 600 w 1200"/>
              <a:gd name="T15" fmla="*/ 275 h 1200"/>
              <a:gd name="T16" fmla="*/ 979 w 1200"/>
              <a:gd name="T17" fmla="*/ 645 h 1200"/>
              <a:gd name="T18" fmla="*/ 980 w 1200"/>
              <a:gd name="T19" fmla="*/ 621 h 1200"/>
              <a:gd name="T20" fmla="*/ 600 w 1200"/>
              <a:gd name="T21" fmla="*/ 227 h 1200"/>
              <a:gd name="T22" fmla="*/ 219 w 1200"/>
              <a:gd name="T23" fmla="*/ 621 h 1200"/>
              <a:gd name="T24" fmla="*/ 221 w 1200"/>
              <a:gd name="T25" fmla="*/ 645 h 1200"/>
              <a:gd name="T26" fmla="*/ 600 w 1200"/>
              <a:gd name="T27" fmla="*/ 275 h 1200"/>
              <a:gd name="T28" fmla="*/ 600 w 1200"/>
              <a:gd name="T29" fmla="*/ 390 h 1200"/>
              <a:gd name="T30" fmla="*/ 475 w 1200"/>
              <a:gd name="T31" fmla="*/ 519 h 1200"/>
              <a:gd name="T32" fmla="*/ 600 w 1200"/>
              <a:gd name="T33" fmla="*/ 648 h 1200"/>
              <a:gd name="T34" fmla="*/ 724 w 1200"/>
              <a:gd name="T35" fmla="*/ 519 h 1200"/>
              <a:gd name="T36" fmla="*/ 600 w 1200"/>
              <a:gd name="T37" fmla="*/ 390 h 1200"/>
              <a:gd name="T38" fmla="*/ 600 w 1200"/>
              <a:gd name="T39" fmla="*/ 659 h 1200"/>
              <a:gd name="T40" fmla="*/ 418 w 1200"/>
              <a:gd name="T41" fmla="*/ 855 h 1200"/>
              <a:gd name="T42" fmla="*/ 600 w 1200"/>
              <a:gd name="T43" fmla="*/ 1200 h 1200"/>
              <a:gd name="T44" fmla="*/ 781 w 1200"/>
              <a:gd name="T45" fmla="*/ 855 h 1200"/>
              <a:gd name="T46" fmla="*/ 600 w 1200"/>
              <a:gd name="T47" fmla="*/ 659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0" h="1200">
                <a:moveTo>
                  <a:pt x="1" y="646"/>
                </a:moveTo>
                <a:cubicBezTo>
                  <a:pt x="1" y="638"/>
                  <a:pt x="0" y="630"/>
                  <a:pt x="0" y="622"/>
                </a:cubicBezTo>
                <a:cubicBezTo>
                  <a:pt x="0" y="278"/>
                  <a:pt x="268" y="0"/>
                  <a:pt x="600" y="0"/>
                </a:cubicBezTo>
                <a:cubicBezTo>
                  <a:pt x="931" y="0"/>
                  <a:pt x="1200" y="278"/>
                  <a:pt x="1200" y="622"/>
                </a:cubicBezTo>
                <a:cubicBezTo>
                  <a:pt x="1200" y="630"/>
                  <a:pt x="1199" y="638"/>
                  <a:pt x="1198" y="646"/>
                </a:cubicBezTo>
                <a:cubicBezTo>
                  <a:pt x="1186" y="314"/>
                  <a:pt x="923" y="48"/>
                  <a:pt x="600" y="48"/>
                </a:cubicBezTo>
                <a:cubicBezTo>
                  <a:pt x="276" y="48"/>
                  <a:pt x="13" y="314"/>
                  <a:pt x="1" y="646"/>
                </a:cubicBezTo>
                <a:moveTo>
                  <a:pt x="600" y="275"/>
                </a:moveTo>
                <a:cubicBezTo>
                  <a:pt x="802" y="275"/>
                  <a:pt x="967" y="439"/>
                  <a:pt x="979" y="645"/>
                </a:cubicBezTo>
                <a:cubicBezTo>
                  <a:pt x="979" y="637"/>
                  <a:pt x="980" y="629"/>
                  <a:pt x="980" y="621"/>
                </a:cubicBezTo>
                <a:cubicBezTo>
                  <a:pt x="980" y="403"/>
                  <a:pt x="810" y="227"/>
                  <a:pt x="600" y="227"/>
                </a:cubicBezTo>
                <a:cubicBezTo>
                  <a:pt x="390" y="227"/>
                  <a:pt x="219" y="403"/>
                  <a:pt x="219" y="621"/>
                </a:cubicBezTo>
                <a:cubicBezTo>
                  <a:pt x="219" y="629"/>
                  <a:pt x="220" y="637"/>
                  <a:pt x="221" y="645"/>
                </a:cubicBezTo>
                <a:cubicBezTo>
                  <a:pt x="233" y="439"/>
                  <a:pt x="397" y="275"/>
                  <a:pt x="600" y="275"/>
                </a:cubicBezTo>
                <a:moveTo>
                  <a:pt x="600" y="390"/>
                </a:moveTo>
                <a:cubicBezTo>
                  <a:pt x="531" y="390"/>
                  <a:pt x="475" y="448"/>
                  <a:pt x="475" y="519"/>
                </a:cubicBezTo>
                <a:cubicBezTo>
                  <a:pt x="475" y="591"/>
                  <a:pt x="531" y="648"/>
                  <a:pt x="600" y="648"/>
                </a:cubicBezTo>
                <a:cubicBezTo>
                  <a:pt x="668" y="648"/>
                  <a:pt x="724" y="591"/>
                  <a:pt x="724" y="519"/>
                </a:cubicBezTo>
                <a:cubicBezTo>
                  <a:pt x="724" y="448"/>
                  <a:pt x="668" y="390"/>
                  <a:pt x="600" y="390"/>
                </a:cubicBezTo>
                <a:moveTo>
                  <a:pt x="600" y="659"/>
                </a:moveTo>
                <a:cubicBezTo>
                  <a:pt x="499" y="659"/>
                  <a:pt x="418" y="665"/>
                  <a:pt x="418" y="855"/>
                </a:cubicBezTo>
                <a:cubicBezTo>
                  <a:pt x="418" y="1045"/>
                  <a:pt x="499" y="1200"/>
                  <a:pt x="600" y="1200"/>
                </a:cubicBezTo>
                <a:cubicBezTo>
                  <a:pt x="700" y="1200"/>
                  <a:pt x="781" y="1045"/>
                  <a:pt x="781" y="855"/>
                </a:cubicBezTo>
                <a:cubicBezTo>
                  <a:pt x="781" y="665"/>
                  <a:pt x="700" y="659"/>
                  <a:pt x="600" y="659"/>
                </a:cubicBezTo>
              </a:path>
            </a:pathLst>
          </a:custGeom>
          <a:solidFill>
            <a:schemeClr val="tx2"/>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th-TH" sz="1500">
              <a:solidFill>
                <a:srgbClr val="0574A7"/>
              </a:solidFill>
            </a:endParaRPr>
          </a:p>
        </p:txBody>
      </p:sp>
      <p:grpSp>
        <p:nvGrpSpPr>
          <p:cNvPr id="15" name="Group 14"/>
          <p:cNvGrpSpPr>
            <a:grpSpLocks noChangeAspect="1"/>
          </p:cNvGrpSpPr>
          <p:nvPr userDrawn="1"/>
        </p:nvGrpSpPr>
        <p:grpSpPr bwMode="auto">
          <a:xfrm>
            <a:off x="6461636" y="4467240"/>
            <a:ext cx="281505" cy="281162"/>
            <a:chOff x="2057" y="1280"/>
            <a:chExt cx="1636" cy="1634"/>
          </a:xfrm>
          <a:solidFill>
            <a:srgbClr val="97C000"/>
          </a:solidFill>
        </p:grpSpPr>
        <p:sp>
          <p:nvSpPr>
            <p:cNvPr id="16" name="Freeform 15"/>
            <p:cNvSpPr>
              <a:spLocks noEditPoints="1"/>
            </p:cNvSpPr>
            <p:nvPr/>
          </p:nvSpPr>
          <p:spPr bwMode="auto">
            <a:xfrm>
              <a:off x="2057" y="1280"/>
              <a:ext cx="393" cy="1634"/>
            </a:xfrm>
            <a:custGeom>
              <a:avLst/>
              <a:gdLst>
                <a:gd name="T0" fmla="*/ 56 w 832"/>
                <a:gd name="T1" fmla="*/ 1146 h 3453"/>
                <a:gd name="T2" fmla="*/ 773 w 832"/>
                <a:gd name="T3" fmla="*/ 1146 h 3453"/>
                <a:gd name="T4" fmla="*/ 773 w 832"/>
                <a:gd name="T5" fmla="*/ 3453 h 3453"/>
                <a:gd name="T6" fmla="*/ 56 w 832"/>
                <a:gd name="T7" fmla="*/ 3453 h 3453"/>
                <a:gd name="T8" fmla="*/ 56 w 832"/>
                <a:gd name="T9" fmla="*/ 1146 h 3453"/>
                <a:gd name="T10" fmla="*/ 416 w 832"/>
                <a:gd name="T11" fmla="*/ 0 h 3453"/>
                <a:gd name="T12" fmla="*/ 832 w 832"/>
                <a:gd name="T13" fmla="*/ 416 h 3453"/>
                <a:gd name="T14" fmla="*/ 416 w 832"/>
                <a:gd name="T15" fmla="*/ 832 h 3453"/>
                <a:gd name="T16" fmla="*/ 0 w 832"/>
                <a:gd name="T17" fmla="*/ 416 h 3453"/>
                <a:gd name="T18" fmla="*/ 416 w 832"/>
                <a:gd name="T19" fmla="*/ 0 h 3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2" h="3453">
                  <a:moveTo>
                    <a:pt x="56" y="1146"/>
                  </a:moveTo>
                  <a:lnTo>
                    <a:pt x="773" y="1146"/>
                  </a:lnTo>
                  <a:lnTo>
                    <a:pt x="773" y="3453"/>
                  </a:lnTo>
                  <a:lnTo>
                    <a:pt x="56" y="3453"/>
                  </a:lnTo>
                  <a:lnTo>
                    <a:pt x="56" y="1146"/>
                  </a:lnTo>
                  <a:close/>
                  <a:moveTo>
                    <a:pt x="416" y="0"/>
                  </a:moveTo>
                  <a:cubicBezTo>
                    <a:pt x="645" y="0"/>
                    <a:pt x="832" y="186"/>
                    <a:pt x="832" y="416"/>
                  </a:cubicBezTo>
                  <a:cubicBezTo>
                    <a:pt x="832" y="645"/>
                    <a:pt x="645" y="832"/>
                    <a:pt x="416" y="832"/>
                  </a:cubicBezTo>
                  <a:cubicBezTo>
                    <a:pt x="185" y="832"/>
                    <a:pt x="0" y="645"/>
                    <a:pt x="0" y="416"/>
                  </a:cubicBezTo>
                  <a:cubicBezTo>
                    <a:pt x="0" y="186"/>
                    <a:pt x="185" y="0"/>
                    <a:pt x="416" y="0"/>
                  </a:cubicBezTo>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th-TH" sz="1500">
                <a:solidFill>
                  <a:srgbClr val="0574A7"/>
                </a:solidFill>
              </a:endParaRPr>
            </a:p>
          </p:txBody>
        </p:sp>
        <p:sp>
          <p:nvSpPr>
            <p:cNvPr id="17" name="Freeform 16"/>
            <p:cNvSpPr>
              <a:spLocks/>
            </p:cNvSpPr>
            <p:nvPr/>
          </p:nvSpPr>
          <p:spPr bwMode="auto">
            <a:xfrm>
              <a:off x="2635" y="1796"/>
              <a:ext cx="1058" cy="1118"/>
            </a:xfrm>
            <a:custGeom>
              <a:avLst/>
              <a:gdLst>
                <a:gd name="T0" fmla="*/ 0 w 2235"/>
                <a:gd name="T1" fmla="*/ 56 h 2363"/>
                <a:gd name="T2" fmla="*/ 687 w 2235"/>
                <a:gd name="T3" fmla="*/ 56 h 2363"/>
                <a:gd name="T4" fmla="*/ 687 w 2235"/>
                <a:gd name="T5" fmla="*/ 372 h 2363"/>
                <a:gd name="T6" fmla="*/ 696 w 2235"/>
                <a:gd name="T7" fmla="*/ 372 h 2363"/>
                <a:gd name="T8" fmla="*/ 1375 w 2235"/>
                <a:gd name="T9" fmla="*/ 0 h 2363"/>
                <a:gd name="T10" fmla="*/ 2235 w 2235"/>
                <a:gd name="T11" fmla="*/ 1099 h 2363"/>
                <a:gd name="T12" fmla="*/ 2235 w 2235"/>
                <a:gd name="T13" fmla="*/ 2363 h 2363"/>
                <a:gd name="T14" fmla="*/ 1519 w 2235"/>
                <a:gd name="T15" fmla="*/ 2363 h 2363"/>
                <a:gd name="T16" fmla="*/ 1519 w 2235"/>
                <a:gd name="T17" fmla="*/ 1242 h 2363"/>
                <a:gd name="T18" fmla="*/ 1147 w 2235"/>
                <a:gd name="T19" fmla="*/ 630 h 2363"/>
                <a:gd name="T20" fmla="*/ 717 w 2235"/>
                <a:gd name="T21" fmla="*/ 1222 h 2363"/>
                <a:gd name="T22" fmla="*/ 717 w 2235"/>
                <a:gd name="T23" fmla="*/ 2363 h 2363"/>
                <a:gd name="T24" fmla="*/ 1 w 2235"/>
                <a:gd name="T25" fmla="*/ 2363 h 2363"/>
                <a:gd name="T26" fmla="*/ 0 w 2235"/>
                <a:gd name="T27" fmla="*/ 56 h 2363"/>
                <a:gd name="T28" fmla="*/ 0 w 2235"/>
                <a:gd name="T29" fmla="*/ 56 h 2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35" h="2363">
                  <a:moveTo>
                    <a:pt x="0" y="56"/>
                  </a:moveTo>
                  <a:lnTo>
                    <a:pt x="687" y="56"/>
                  </a:lnTo>
                  <a:lnTo>
                    <a:pt x="687" y="372"/>
                  </a:lnTo>
                  <a:lnTo>
                    <a:pt x="696" y="372"/>
                  </a:lnTo>
                  <a:cubicBezTo>
                    <a:pt x="792" y="191"/>
                    <a:pt x="1025" y="0"/>
                    <a:pt x="1375" y="0"/>
                  </a:cubicBezTo>
                  <a:cubicBezTo>
                    <a:pt x="2100" y="0"/>
                    <a:pt x="2235" y="478"/>
                    <a:pt x="2235" y="1099"/>
                  </a:cubicBezTo>
                  <a:lnTo>
                    <a:pt x="2235" y="2363"/>
                  </a:lnTo>
                  <a:lnTo>
                    <a:pt x="1519" y="2363"/>
                  </a:lnTo>
                  <a:lnTo>
                    <a:pt x="1519" y="1242"/>
                  </a:lnTo>
                  <a:cubicBezTo>
                    <a:pt x="1519" y="974"/>
                    <a:pt x="1515" y="630"/>
                    <a:pt x="1147" y="630"/>
                  </a:cubicBezTo>
                  <a:cubicBezTo>
                    <a:pt x="773" y="630"/>
                    <a:pt x="717" y="922"/>
                    <a:pt x="717" y="1222"/>
                  </a:cubicBezTo>
                  <a:lnTo>
                    <a:pt x="717" y="2363"/>
                  </a:lnTo>
                  <a:lnTo>
                    <a:pt x="1" y="2363"/>
                  </a:lnTo>
                  <a:lnTo>
                    <a:pt x="0" y="56"/>
                  </a:lnTo>
                  <a:lnTo>
                    <a:pt x="0" y="56"/>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th-TH" sz="1500">
                <a:solidFill>
                  <a:srgbClr val="0574A7"/>
                </a:solidFill>
              </a:endParaRPr>
            </a:p>
          </p:txBody>
        </p:sp>
      </p:grpSp>
      <p:sp>
        <p:nvSpPr>
          <p:cNvPr id="18" name="Freeform 5"/>
          <p:cNvSpPr>
            <a:spLocks/>
          </p:cNvSpPr>
          <p:nvPr userDrawn="1"/>
        </p:nvSpPr>
        <p:spPr bwMode="auto">
          <a:xfrm>
            <a:off x="5810102" y="4487133"/>
            <a:ext cx="296787" cy="241375"/>
          </a:xfrm>
          <a:custGeom>
            <a:avLst/>
            <a:gdLst>
              <a:gd name="T0" fmla="*/ 656 w 656"/>
              <a:gd name="T1" fmla="*/ 63 h 533"/>
              <a:gd name="T2" fmla="*/ 579 w 656"/>
              <a:gd name="T3" fmla="*/ 84 h 533"/>
              <a:gd name="T4" fmla="*/ 638 w 656"/>
              <a:gd name="T5" fmla="*/ 10 h 533"/>
              <a:gd name="T6" fmla="*/ 553 w 656"/>
              <a:gd name="T7" fmla="*/ 42 h 533"/>
              <a:gd name="T8" fmla="*/ 454 w 656"/>
              <a:gd name="T9" fmla="*/ 0 h 533"/>
              <a:gd name="T10" fmla="*/ 320 w 656"/>
              <a:gd name="T11" fmla="*/ 134 h 533"/>
              <a:gd name="T12" fmla="*/ 323 w 656"/>
              <a:gd name="T13" fmla="*/ 165 h 533"/>
              <a:gd name="T14" fmla="*/ 45 w 656"/>
              <a:gd name="T15" fmla="*/ 24 h 533"/>
              <a:gd name="T16" fmla="*/ 27 w 656"/>
              <a:gd name="T17" fmla="*/ 92 h 533"/>
              <a:gd name="T18" fmla="*/ 87 w 656"/>
              <a:gd name="T19" fmla="*/ 204 h 533"/>
              <a:gd name="T20" fmla="*/ 26 w 656"/>
              <a:gd name="T21" fmla="*/ 187 h 533"/>
              <a:gd name="T22" fmla="*/ 26 w 656"/>
              <a:gd name="T23" fmla="*/ 189 h 533"/>
              <a:gd name="T24" fmla="*/ 134 w 656"/>
              <a:gd name="T25" fmla="*/ 321 h 533"/>
              <a:gd name="T26" fmla="*/ 99 w 656"/>
              <a:gd name="T27" fmla="*/ 326 h 533"/>
              <a:gd name="T28" fmla="*/ 73 w 656"/>
              <a:gd name="T29" fmla="*/ 324 h 533"/>
              <a:gd name="T30" fmla="*/ 199 w 656"/>
              <a:gd name="T31" fmla="*/ 417 h 533"/>
              <a:gd name="T32" fmla="*/ 32 w 656"/>
              <a:gd name="T33" fmla="*/ 475 h 533"/>
              <a:gd name="T34" fmla="*/ 0 w 656"/>
              <a:gd name="T35" fmla="*/ 473 h 533"/>
              <a:gd name="T36" fmla="*/ 206 w 656"/>
              <a:gd name="T37" fmla="*/ 533 h 533"/>
              <a:gd name="T38" fmla="*/ 590 w 656"/>
              <a:gd name="T39" fmla="*/ 150 h 533"/>
              <a:gd name="T40" fmla="*/ 589 w 656"/>
              <a:gd name="T41" fmla="*/ 133 h 533"/>
              <a:gd name="T42" fmla="*/ 656 w 656"/>
              <a:gd name="T43" fmla="*/ 6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56" h="533">
                <a:moveTo>
                  <a:pt x="656" y="63"/>
                </a:moveTo>
                <a:cubicBezTo>
                  <a:pt x="632" y="74"/>
                  <a:pt x="606" y="81"/>
                  <a:pt x="579" y="84"/>
                </a:cubicBezTo>
                <a:cubicBezTo>
                  <a:pt x="607" y="67"/>
                  <a:pt x="628" y="41"/>
                  <a:pt x="638" y="10"/>
                </a:cubicBezTo>
                <a:cubicBezTo>
                  <a:pt x="612" y="25"/>
                  <a:pt x="583" y="36"/>
                  <a:pt x="553" y="42"/>
                </a:cubicBezTo>
                <a:cubicBezTo>
                  <a:pt x="528" y="16"/>
                  <a:pt x="493" y="0"/>
                  <a:pt x="454" y="0"/>
                </a:cubicBezTo>
                <a:cubicBezTo>
                  <a:pt x="380" y="0"/>
                  <a:pt x="320" y="60"/>
                  <a:pt x="320" y="134"/>
                </a:cubicBezTo>
                <a:cubicBezTo>
                  <a:pt x="320" y="145"/>
                  <a:pt x="321" y="155"/>
                  <a:pt x="323" y="165"/>
                </a:cubicBezTo>
                <a:cubicBezTo>
                  <a:pt x="211" y="160"/>
                  <a:pt x="112" y="106"/>
                  <a:pt x="45" y="24"/>
                </a:cubicBezTo>
                <a:cubicBezTo>
                  <a:pt x="34" y="44"/>
                  <a:pt x="27" y="67"/>
                  <a:pt x="27" y="92"/>
                </a:cubicBezTo>
                <a:cubicBezTo>
                  <a:pt x="27" y="139"/>
                  <a:pt x="51" y="180"/>
                  <a:pt x="87" y="204"/>
                </a:cubicBezTo>
                <a:cubicBezTo>
                  <a:pt x="65" y="204"/>
                  <a:pt x="44" y="197"/>
                  <a:pt x="26" y="187"/>
                </a:cubicBezTo>
                <a:cubicBezTo>
                  <a:pt x="26" y="188"/>
                  <a:pt x="26" y="189"/>
                  <a:pt x="26" y="189"/>
                </a:cubicBezTo>
                <a:cubicBezTo>
                  <a:pt x="26" y="254"/>
                  <a:pt x="72" y="309"/>
                  <a:pt x="134" y="321"/>
                </a:cubicBezTo>
                <a:cubicBezTo>
                  <a:pt x="123" y="324"/>
                  <a:pt x="111" y="326"/>
                  <a:pt x="99" y="326"/>
                </a:cubicBezTo>
                <a:cubicBezTo>
                  <a:pt x="90" y="326"/>
                  <a:pt x="82" y="325"/>
                  <a:pt x="73" y="324"/>
                </a:cubicBezTo>
                <a:cubicBezTo>
                  <a:pt x="90" y="377"/>
                  <a:pt x="140" y="416"/>
                  <a:pt x="199" y="417"/>
                </a:cubicBezTo>
                <a:cubicBezTo>
                  <a:pt x="153" y="453"/>
                  <a:pt x="95" y="475"/>
                  <a:pt x="32" y="475"/>
                </a:cubicBezTo>
                <a:cubicBezTo>
                  <a:pt x="21" y="475"/>
                  <a:pt x="10" y="474"/>
                  <a:pt x="0" y="473"/>
                </a:cubicBezTo>
                <a:cubicBezTo>
                  <a:pt x="59" y="511"/>
                  <a:pt x="130" y="533"/>
                  <a:pt x="206" y="533"/>
                </a:cubicBezTo>
                <a:cubicBezTo>
                  <a:pt x="454" y="533"/>
                  <a:pt x="590" y="328"/>
                  <a:pt x="590" y="150"/>
                </a:cubicBezTo>
                <a:cubicBezTo>
                  <a:pt x="590" y="144"/>
                  <a:pt x="590" y="138"/>
                  <a:pt x="589" y="133"/>
                </a:cubicBezTo>
                <a:cubicBezTo>
                  <a:pt x="616" y="114"/>
                  <a:pt x="638" y="90"/>
                  <a:pt x="656" y="63"/>
                </a:cubicBezTo>
                <a:close/>
              </a:path>
            </a:pathLst>
          </a:custGeom>
          <a:solidFill>
            <a:srgbClr val="0084AD"/>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th-TH" sz="1500">
              <a:solidFill>
                <a:srgbClr val="0574A7"/>
              </a:solidFill>
            </a:endParaRPr>
          </a:p>
        </p:txBody>
      </p:sp>
      <p:sp>
        <p:nvSpPr>
          <p:cNvPr id="19" name="Freeform 9"/>
          <p:cNvSpPr>
            <a:spLocks noEditPoints="1"/>
          </p:cNvSpPr>
          <p:nvPr userDrawn="1"/>
        </p:nvSpPr>
        <p:spPr bwMode="auto">
          <a:xfrm>
            <a:off x="7844284" y="4487651"/>
            <a:ext cx="239586" cy="240340"/>
          </a:xfrm>
          <a:custGeom>
            <a:avLst/>
            <a:gdLst>
              <a:gd name="T0" fmla="*/ 0 w 661"/>
              <a:gd name="T1" fmla="*/ 352 h 663"/>
              <a:gd name="T2" fmla="*/ 218 w 661"/>
              <a:gd name="T3" fmla="*/ 443 h 663"/>
              <a:gd name="T4" fmla="*/ 309 w 661"/>
              <a:gd name="T5" fmla="*/ 663 h 663"/>
              <a:gd name="T6" fmla="*/ 436 w 661"/>
              <a:gd name="T7" fmla="*/ 663 h 663"/>
              <a:gd name="T8" fmla="*/ 0 w 661"/>
              <a:gd name="T9" fmla="*/ 225 h 663"/>
              <a:gd name="T10" fmla="*/ 0 w 661"/>
              <a:gd name="T11" fmla="*/ 352 h 663"/>
              <a:gd name="T12" fmla="*/ 0 w 661"/>
              <a:gd name="T13" fmla="*/ 127 h 663"/>
              <a:gd name="T14" fmla="*/ 533 w 661"/>
              <a:gd name="T15" fmla="*/ 663 h 663"/>
              <a:gd name="T16" fmla="*/ 661 w 661"/>
              <a:gd name="T17" fmla="*/ 663 h 663"/>
              <a:gd name="T18" fmla="*/ 0 w 661"/>
              <a:gd name="T19" fmla="*/ 0 h 663"/>
              <a:gd name="T20" fmla="*/ 0 w 661"/>
              <a:gd name="T21" fmla="*/ 127 h 663"/>
              <a:gd name="T22" fmla="*/ 176 w 661"/>
              <a:gd name="T23" fmla="*/ 575 h 663"/>
              <a:gd name="T24" fmla="*/ 88 w 661"/>
              <a:gd name="T25" fmla="*/ 663 h 663"/>
              <a:gd name="T26" fmla="*/ 0 w 661"/>
              <a:gd name="T27" fmla="*/ 575 h 663"/>
              <a:gd name="T28" fmla="*/ 88 w 661"/>
              <a:gd name="T29" fmla="*/ 486 h 663"/>
              <a:gd name="T30" fmla="*/ 176 w 661"/>
              <a:gd name="T31" fmla="*/ 575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1" h="663">
                <a:moveTo>
                  <a:pt x="0" y="352"/>
                </a:moveTo>
                <a:cubicBezTo>
                  <a:pt x="82" y="352"/>
                  <a:pt x="160" y="385"/>
                  <a:pt x="218" y="443"/>
                </a:cubicBezTo>
                <a:cubicBezTo>
                  <a:pt x="277" y="502"/>
                  <a:pt x="309" y="580"/>
                  <a:pt x="309" y="663"/>
                </a:cubicBezTo>
                <a:lnTo>
                  <a:pt x="436" y="663"/>
                </a:lnTo>
                <a:cubicBezTo>
                  <a:pt x="436" y="422"/>
                  <a:pt x="240" y="225"/>
                  <a:pt x="0" y="225"/>
                </a:cubicBezTo>
                <a:lnTo>
                  <a:pt x="0" y="352"/>
                </a:lnTo>
                <a:close/>
                <a:moveTo>
                  <a:pt x="0" y="127"/>
                </a:moveTo>
                <a:cubicBezTo>
                  <a:pt x="294" y="127"/>
                  <a:pt x="533" y="368"/>
                  <a:pt x="533" y="663"/>
                </a:cubicBezTo>
                <a:lnTo>
                  <a:pt x="661" y="663"/>
                </a:lnTo>
                <a:cubicBezTo>
                  <a:pt x="661" y="297"/>
                  <a:pt x="364" y="0"/>
                  <a:pt x="0" y="0"/>
                </a:cubicBezTo>
                <a:lnTo>
                  <a:pt x="0" y="127"/>
                </a:lnTo>
                <a:close/>
                <a:moveTo>
                  <a:pt x="176" y="575"/>
                </a:moveTo>
                <a:cubicBezTo>
                  <a:pt x="176" y="623"/>
                  <a:pt x="136" y="663"/>
                  <a:pt x="88" y="663"/>
                </a:cubicBezTo>
                <a:cubicBezTo>
                  <a:pt x="39" y="663"/>
                  <a:pt x="0" y="623"/>
                  <a:pt x="0" y="575"/>
                </a:cubicBezTo>
                <a:cubicBezTo>
                  <a:pt x="0" y="526"/>
                  <a:pt x="39" y="486"/>
                  <a:pt x="88" y="486"/>
                </a:cubicBezTo>
                <a:cubicBezTo>
                  <a:pt x="136" y="486"/>
                  <a:pt x="176" y="526"/>
                  <a:pt x="176" y="575"/>
                </a:cubicBezTo>
                <a:close/>
              </a:path>
            </a:pathLst>
          </a:custGeom>
          <a:solidFill>
            <a:schemeClr val="tx2"/>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th-TH" sz="1500">
              <a:solidFill>
                <a:srgbClr val="0574A7"/>
              </a:solidFill>
            </a:endParaRPr>
          </a:p>
        </p:txBody>
      </p:sp>
      <p:sp>
        <p:nvSpPr>
          <p:cNvPr id="20" name="TextBox 19"/>
          <p:cNvSpPr txBox="1"/>
          <p:nvPr userDrawn="1"/>
        </p:nvSpPr>
        <p:spPr>
          <a:xfrm>
            <a:off x="5766441" y="1971347"/>
            <a:ext cx="4388115" cy="943762"/>
          </a:xfrm>
          <a:prstGeom prst="rect">
            <a:avLst/>
          </a:prstGeom>
          <a:noFill/>
        </p:spPr>
        <p:txBody>
          <a:bodyPr wrap="square" rtlCol="0" anchor="ctr">
            <a:noAutofit/>
          </a:bodyPr>
          <a:lstStyle/>
          <a:p>
            <a:pPr>
              <a:lnSpc>
                <a:spcPct val="90000"/>
              </a:lnSpc>
              <a:buClr>
                <a:srgbClr val="C4D600"/>
              </a:buClr>
            </a:pPr>
            <a:r>
              <a:rPr lang="en-US" sz="3000" b="1">
                <a:solidFill>
                  <a:schemeClr val="accent6">
                    <a:lumMod val="75000"/>
                  </a:schemeClr>
                </a:solidFill>
              </a:rPr>
              <a:t>CONNECT WITH US</a:t>
            </a:r>
          </a:p>
        </p:txBody>
      </p:sp>
      <p:sp>
        <p:nvSpPr>
          <p:cNvPr id="3" name="Rectangle 2"/>
          <p:cNvSpPr/>
          <p:nvPr userDrawn="1"/>
        </p:nvSpPr>
        <p:spPr>
          <a:xfrm>
            <a:off x="5766441" y="809482"/>
            <a:ext cx="3480953" cy="1015663"/>
          </a:xfrm>
          <a:prstGeom prst="rect">
            <a:avLst/>
          </a:prstGeom>
        </p:spPr>
        <p:txBody>
          <a:bodyPr wrap="none">
            <a:spAutoFit/>
          </a:bodyPr>
          <a:lstStyle/>
          <a:p>
            <a:r>
              <a:rPr kumimoji="0" lang="en-US" sz="6000" b="1" i="0" u="none" strike="noStrike" kern="1200" cap="none" spc="0" normalizeH="0" baseline="0" noProof="0">
                <a:ln>
                  <a:noFill/>
                </a:ln>
                <a:solidFill>
                  <a:schemeClr val="tx2"/>
                </a:solidFill>
                <a:effectLst/>
                <a:uLnTx/>
                <a:uFillTx/>
                <a:latin typeface="+mn-lt"/>
                <a:ea typeface="+mj-ea"/>
                <a:cs typeface="+mj-cs"/>
              </a:rPr>
              <a:t>Thank You</a:t>
            </a:r>
            <a:endParaRPr lang="en-US" sz="1500">
              <a:solidFill>
                <a:schemeClr val="tx2"/>
              </a:solidFill>
            </a:endParaRPr>
          </a:p>
        </p:txBody>
      </p:sp>
    </p:spTree>
    <p:extLst>
      <p:ext uri="{BB962C8B-B14F-4D97-AF65-F5344CB8AC3E}">
        <p14:creationId xmlns:p14="http://schemas.microsoft.com/office/powerpoint/2010/main" val="98618103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irst Slid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8CEF216-8866-F159-96AE-D35BA039B159}"/>
              </a:ext>
            </a:extLst>
          </p:cNvPr>
          <p:cNvSpPr/>
          <p:nvPr userDrawn="1"/>
        </p:nvSpPr>
        <p:spPr>
          <a:xfrm>
            <a:off x="11750431" y="422031"/>
            <a:ext cx="166611" cy="689763"/>
          </a:xfrm>
          <a:prstGeom prst="rect">
            <a:avLst/>
          </a:prstGeom>
          <a:solidFill>
            <a:schemeClr val="bg1"/>
          </a:solidFill>
          <a:ln>
            <a:noFill/>
          </a:ln>
        </p:spPr>
        <p:txBody>
          <a:bodyPr wrap="none" rtlCol="0" anchor="ctr">
            <a:spAutoFit/>
          </a:bodyPr>
          <a:lstStyle/>
          <a:p>
            <a:pPr algn="l"/>
            <a:endParaRPr lang="en-US">
              <a:latin typeface="+mj-lt"/>
            </a:endParaRPr>
          </a:p>
        </p:txBody>
      </p:sp>
      <p:pic>
        <p:nvPicPr>
          <p:cNvPr id="7" name="Picture 6">
            <a:extLst>
              <a:ext uri="{FF2B5EF4-FFF2-40B4-BE49-F238E27FC236}">
                <a16:creationId xmlns:a16="http://schemas.microsoft.com/office/drawing/2014/main" id="{09412C25-4147-CB40-A599-602B06F8324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236" r="20455"/>
          <a:stretch/>
        </p:blipFill>
        <p:spPr>
          <a:xfrm>
            <a:off x="31261" y="128954"/>
            <a:ext cx="9707730" cy="6858000"/>
          </a:xfrm>
          <a:prstGeom prst="rect">
            <a:avLst/>
          </a:prstGeom>
        </p:spPr>
      </p:pic>
      <p:grpSp>
        <p:nvGrpSpPr>
          <p:cNvPr id="11" name="Group 10">
            <a:extLst>
              <a:ext uri="{FF2B5EF4-FFF2-40B4-BE49-F238E27FC236}">
                <a16:creationId xmlns:a16="http://schemas.microsoft.com/office/drawing/2014/main" id="{36E74699-F9B2-034A-AEED-7567240EEAEA}"/>
              </a:ext>
            </a:extLst>
          </p:cNvPr>
          <p:cNvGrpSpPr/>
          <p:nvPr userDrawn="1"/>
        </p:nvGrpSpPr>
        <p:grpSpPr>
          <a:xfrm>
            <a:off x="9620083" y="6129733"/>
            <a:ext cx="1813276" cy="449254"/>
            <a:chOff x="9337806" y="4106341"/>
            <a:chExt cx="1729902" cy="428598"/>
          </a:xfrm>
          <a:solidFill>
            <a:srgbClr val="051521"/>
          </a:solidFill>
        </p:grpSpPr>
        <p:sp>
          <p:nvSpPr>
            <p:cNvPr id="12" name="Freeform 11">
              <a:extLst>
                <a:ext uri="{FF2B5EF4-FFF2-40B4-BE49-F238E27FC236}">
                  <a16:creationId xmlns:a16="http://schemas.microsoft.com/office/drawing/2014/main" id="{50E3CDF5-12EC-C444-BC86-1D0D471F0930}"/>
                </a:ext>
              </a:extLst>
            </p:cNvPr>
            <p:cNvSpPr/>
            <p:nvPr/>
          </p:nvSpPr>
          <p:spPr>
            <a:xfrm>
              <a:off x="9337806" y="4106341"/>
              <a:ext cx="1729902" cy="428598"/>
            </a:xfrm>
            <a:custGeom>
              <a:avLst/>
              <a:gdLst>
                <a:gd name="connsiteX0" fmla="*/ 1682722 w 1729902"/>
                <a:gd name="connsiteY0" fmla="*/ 96586 h 428598"/>
                <a:gd name="connsiteX1" fmla="*/ 1674027 w 1729902"/>
                <a:gd name="connsiteY1" fmla="*/ 96586 h 428598"/>
                <a:gd name="connsiteX2" fmla="*/ 1674027 w 1729902"/>
                <a:gd name="connsiteY2" fmla="*/ 91814 h 428598"/>
                <a:gd name="connsiteX3" fmla="*/ 1695768 w 1729902"/>
                <a:gd name="connsiteY3" fmla="*/ 91814 h 428598"/>
                <a:gd name="connsiteX4" fmla="*/ 1695768 w 1729902"/>
                <a:gd name="connsiteY4" fmla="*/ 96586 h 428598"/>
                <a:gd name="connsiteX5" fmla="*/ 1687289 w 1729902"/>
                <a:gd name="connsiteY5" fmla="*/ 96586 h 428598"/>
                <a:gd name="connsiteX6" fmla="*/ 1687289 w 1729902"/>
                <a:gd name="connsiteY6" fmla="*/ 122613 h 428598"/>
                <a:gd name="connsiteX7" fmla="*/ 1682331 w 1729902"/>
                <a:gd name="connsiteY7" fmla="*/ 122613 h 428598"/>
                <a:gd name="connsiteX8" fmla="*/ 1682722 w 1729902"/>
                <a:gd name="connsiteY8" fmla="*/ 96586 h 428598"/>
                <a:gd name="connsiteX9" fmla="*/ 1700118 w 1729902"/>
                <a:gd name="connsiteY9" fmla="*/ 91814 h 428598"/>
                <a:gd name="connsiteX10" fmla="*/ 1707814 w 1729902"/>
                <a:gd name="connsiteY10" fmla="*/ 91814 h 428598"/>
                <a:gd name="connsiteX11" fmla="*/ 1715032 w 1729902"/>
                <a:gd name="connsiteY11" fmla="*/ 113503 h 428598"/>
                <a:gd name="connsiteX12" fmla="*/ 1722163 w 1729902"/>
                <a:gd name="connsiteY12" fmla="*/ 91814 h 428598"/>
                <a:gd name="connsiteX13" fmla="*/ 1729902 w 1729902"/>
                <a:gd name="connsiteY13" fmla="*/ 91814 h 428598"/>
                <a:gd name="connsiteX14" fmla="*/ 1729902 w 1729902"/>
                <a:gd name="connsiteY14" fmla="*/ 122526 h 428598"/>
                <a:gd name="connsiteX15" fmla="*/ 1725035 w 1729902"/>
                <a:gd name="connsiteY15" fmla="*/ 122526 h 428598"/>
                <a:gd name="connsiteX16" fmla="*/ 1725035 w 1729902"/>
                <a:gd name="connsiteY16" fmla="*/ 97844 h 428598"/>
                <a:gd name="connsiteX17" fmla="*/ 1716596 w 1729902"/>
                <a:gd name="connsiteY17" fmla="*/ 122526 h 428598"/>
                <a:gd name="connsiteX18" fmla="*/ 1713163 w 1729902"/>
                <a:gd name="connsiteY18" fmla="*/ 122526 h 428598"/>
                <a:gd name="connsiteX19" fmla="*/ 1704859 w 1729902"/>
                <a:gd name="connsiteY19" fmla="*/ 97844 h 428598"/>
                <a:gd name="connsiteX20" fmla="*/ 1704859 w 1729902"/>
                <a:gd name="connsiteY20" fmla="*/ 122526 h 428598"/>
                <a:gd name="connsiteX21" fmla="*/ 1700161 w 1729902"/>
                <a:gd name="connsiteY21" fmla="*/ 122526 h 428598"/>
                <a:gd name="connsiteX22" fmla="*/ 1700118 w 1729902"/>
                <a:gd name="connsiteY22" fmla="*/ 91814 h 428598"/>
                <a:gd name="connsiteX23" fmla="*/ 1531574 w 1729902"/>
                <a:gd name="connsiteY23" fmla="*/ 90860 h 428598"/>
                <a:gd name="connsiteX24" fmla="*/ 1515022 w 1729902"/>
                <a:gd name="connsiteY24" fmla="*/ 96598 h 428598"/>
                <a:gd name="connsiteX25" fmla="*/ 1506704 w 1729902"/>
                <a:gd name="connsiteY25" fmla="*/ 111985 h 428598"/>
                <a:gd name="connsiteX26" fmla="*/ 1437783 w 1729902"/>
                <a:gd name="connsiteY26" fmla="*/ 85525 h 428598"/>
                <a:gd name="connsiteX27" fmla="*/ 1390608 w 1729902"/>
                <a:gd name="connsiteY27" fmla="*/ 94645 h 428598"/>
                <a:gd name="connsiteX28" fmla="*/ 1350646 w 1729902"/>
                <a:gd name="connsiteY28" fmla="*/ 121263 h 428598"/>
                <a:gd name="connsiteX29" fmla="*/ 1324116 w 1729902"/>
                <a:gd name="connsiteY29" fmla="*/ 161232 h 428598"/>
                <a:gd name="connsiteX30" fmla="*/ 1315159 w 1729902"/>
                <a:gd name="connsiteY30" fmla="*/ 208327 h 428598"/>
                <a:gd name="connsiteX31" fmla="*/ 1315159 w 1729902"/>
                <a:gd name="connsiteY31" fmla="*/ 213272 h 428598"/>
                <a:gd name="connsiteX32" fmla="*/ 1347260 w 1729902"/>
                <a:gd name="connsiteY32" fmla="*/ 238760 h 428598"/>
                <a:gd name="connsiteX33" fmla="*/ 1359380 w 1729902"/>
                <a:gd name="connsiteY33" fmla="*/ 277861 h 428598"/>
                <a:gd name="connsiteX34" fmla="*/ 1355513 w 1729902"/>
                <a:gd name="connsiteY34" fmla="*/ 300417 h 428598"/>
                <a:gd name="connsiteX35" fmla="*/ 1437653 w 1729902"/>
                <a:gd name="connsiteY35" fmla="*/ 330348 h 428598"/>
                <a:gd name="connsiteX36" fmla="*/ 1506444 w 1729902"/>
                <a:gd name="connsiteY36" fmla="*/ 302587 h 428598"/>
                <a:gd name="connsiteX37" fmla="*/ 1514218 w 1729902"/>
                <a:gd name="connsiteY37" fmla="*/ 319148 h 428598"/>
                <a:gd name="connsiteX38" fmla="*/ 1531444 w 1729902"/>
                <a:gd name="connsiteY38" fmla="*/ 325403 h 428598"/>
                <a:gd name="connsiteX39" fmla="*/ 1556926 w 1729902"/>
                <a:gd name="connsiteY39" fmla="*/ 299941 h 428598"/>
                <a:gd name="connsiteX40" fmla="*/ 1556926 w 1729902"/>
                <a:gd name="connsiteY40" fmla="*/ 115932 h 428598"/>
                <a:gd name="connsiteX41" fmla="*/ 1555418 w 1729902"/>
                <a:gd name="connsiteY41" fmla="*/ 106006 h 428598"/>
                <a:gd name="connsiteX42" fmla="*/ 1549917 w 1729902"/>
                <a:gd name="connsiteY42" fmla="*/ 97599 h 428598"/>
                <a:gd name="connsiteX43" fmla="*/ 1541417 w 1729902"/>
                <a:gd name="connsiteY43" fmla="*/ 92228 h 428598"/>
                <a:gd name="connsiteX44" fmla="*/ 1531444 w 1729902"/>
                <a:gd name="connsiteY44" fmla="*/ 90860 h 428598"/>
                <a:gd name="connsiteX45" fmla="*/ 1531574 w 1729902"/>
                <a:gd name="connsiteY45" fmla="*/ 90860 h 428598"/>
                <a:gd name="connsiteX46" fmla="*/ 1437436 w 1729902"/>
                <a:gd name="connsiteY46" fmla="*/ 276430 h 428598"/>
                <a:gd name="connsiteX47" fmla="*/ 1399403 w 1729902"/>
                <a:gd name="connsiteY47" fmla="*/ 264970 h 428598"/>
                <a:gd name="connsiteX48" fmla="*/ 1374177 w 1729902"/>
                <a:gd name="connsiteY48" fmla="*/ 234358 h 428598"/>
                <a:gd name="connsiteX49" fmla="*/ 1370253 w 1729902"/>
                <a:gd name="connsiteY49" fmla="*/ 194922 h 428598"/>
                <a:gd name="connsiteX50" fmla="*/ 1388965 w 1729902"/>
                <a:gd name="connsiteY50" fmla="*/ 159964 h 428598"/>
                <a:gd name="connsiteX51" fmla="*/ 1423999 w 1729902"/>
                <a:gd name="connsiteY51" fmla="*/ 141276 h 428598"/>
                <a:gd name="connsiteX52" fmla="*/ 1463531 w 1729902"/>
                <a:gd name="connsiteY52" fmla="*/ 145162 h 428598"/>
                <a:gd name="connsiteX53" fmla="*/ 1494232 w 1729902"/>
                <a:gd name="connsiteY53" fmla="*/ 170311 h 428598"/>
                <a:gd name="connsiteX54" fmla="*/ 1505748 w 1729902"/>
                <a:gd name="connsiteY54" fmla="*/ 208240 h 428598"/>
                <a:gd name="connsiteX55" fmla="*/ 1485728 w 1729902"/>
                <a:gd name="connsiteY55" fmla="*/ 256430 h 428598"/>
                <a:gd name="connsiteX56" fmla="*/ 1437436 w 1729902"/>
                <a:gd name="connsiteY56" fmla="*/ 276430 h 428598"/>
                <a:gd name="connsiteX57" fmla="*/ 1082784 w 1729902"/>
                <a:gd name="connsiteY57" fmla="*/ 90860 h 428598"/>
                <a:gd name="connsiteX58" fmla="*/ 1066244 w 1729902"/>
                <a:gd name="connsiteY58" fmla="*/ 96602 h 428598"/>
                <a:gd name="connsiteX59" fmla="*/ 1057953 w 1729902"/>
                <a:gd name="connsiteY59" fmla="*/ 111985 h 428598"/>
                <a:gd name="connsiteX60" fmla="*/ 989032 w 1729902"/>
                <a:gd name="connsiteY60" fmla="*/ 85525 h 428598"/>
                <a:gd name="connsiteX61" fmla="*/ 941856 w 1729902"/>
                <a:gd name="connsiteY61" fmla="*/ 94645 h 428598"/>
                <a:gd name="connsiteX62" fmla="*/ 901894 w 1729902"/>
                <a:gd name="connsiteY62" fmla="*/ 121263 h 428598"/>
                <a:gd name="connsiteX63" fmla="*/ 875369 w 1729902"/>
                <a:gd name="connsiteY63" fmla="*/ 161232 h 428598"/>
                <a:gd name="connsiteX64" fmla="*/ 866408 w 1729902"/>
                <a:gd name="connsiteY64" fmla="*/ 208327 h 428598"/>
                <a:gd name="connsiteX65" fmla="*/ 989032 w 1729902"/>
                <a:gd name="connsiteY65" fmla="*/ 330348 h 428598"/>
                <a:gd name="connsiteX66" fmla="*/ 1057823 w 1729902"/>
                <a:gd name="connsiteY66" fmla="*/ 302587 h 428598"/>
                <a:gd name="connsiteX67" fmla="*/ 1065584 w 1729902"/>
                <a:gd name="connsiteY67" fmla="*/ 319132 h 428598"/>
                <a:gd name="connsiteX68" fmla="*/ 1082784 w 1729902"/>
                <a:gd name="connsiteY68" fmla="*/ 325403 h 428598"/>
                <a:gd name="connsiteX69" fmla="*/ 1108305 w 1729902"/>
                <a:gd name="connsiteY69" fmla="*/ 299941 h 428598"/>
                <a:gd name="connsiteX70" fmla="*/ 1108305 w 1729902"/>
                <a:gd name="connsiteY70" fmla="*/ 115932 h 428598"/>
                <a:gd name="connsiteX71" fmla="*/ 1082784 w 1729902"/>
                <a:gd name="connsiteY71" fmla="*/ 90860 h 428598"/>
                <a:gd name="connsiteX72" fmla="*/ 986902 w 1729902"/>
                <a:gd name="connsiteY72" fmla="*/ 276430 h 428598"/>
                <a:gd name="connsiteX73" fmla="*/ 948874 w 1729902"/>
                <a:gd name="connsiteY73" fmla="*/ 264970 h 428598"/>
                <a:gd name="connsiteX74" fmla="*/ 923644 w 1729902"/>
                <a:gd name="connsiteY74" fmla="*/ 234358 h 428598"/>
                <a:gd name="connsiteX75" fmla="*/ 919720 w 1729902"/>
                <a:gd name="connsiteY75" fmla="*/ 194922 h 428598"/>
                <a:gd name="connsiteX76" fmla="*/ 938432 w 1729902"/>
                <a:gd name="connsiteY76" fmla="*/ 159964 h 428598"/>
                <a:gd name="connsiteX77" fmla="*/ 973466 w 1729902"/>
                <a:gd name="connsiteY77" fmla="*/ 141276 h 428598"/>
                <a:gd name="connsiteX78" fmla="*/ 1012998 w 1729902"/>
                <a:gd name="connsiteY78" fmla="*/ 145162 h 428598"/>
                <a:gd name="connsiteX79" fmla="*/ 1043704 w 1729902"/>
                <a:gd name="connsiteY79" fmla="*/ 170311 h 428598"/>
                <a:gd name="connsiteX80" fmla="*/ 1055215 w 1729902"/>
                <a:gd name="connsiteY80" fmla="*/ 208240 h 428598"/>
                <a:gd name="connsiteX81" fmla="*/ 1035195 w 1729902"/>
                <a:gd name="connsiteY81" fmla="*/ 256430 h 428598"/>
                <a:gd name="connsiteX82" fmla="*/ 986902 w 1729902"/>
                <a:gd name="connsiteY82" fmla="*/ 276430 h 428598"/>
                <a:gd name="connsiteX83" fmla="*/ 216374 w 1729902"/>
                <a:gd name="connsiteY83" fmla="*/ 71 h 428598"/>
                <a:gd name="connsiteX84" fmla="*/ 206404 w 1729902"/>
                <a:gd name="connsiteY84" fmla="*/ 1438 h 428598"/>
                <a:gd name="connsiteX85" fmla="*/ 197902 w 1729902"/>
                <a:gd name="connsiteY85" fmla="*/ 6810 h 428598"/>
                <a:gd name="connsiteX86" fmla="*/ 192400 w 1729902"/>
                <a:gd name="connsiteY86" fmla="*/ 15217 h 428598"/>
                <a:gd name="connsiteX87" fmla="*/ 190893 w 1729902"/>
                <a:gd name="connsiteY87" fmla="*/ 25143 h 428598"/>
                <a:gd name="connsiteX88" fmla="*/ 190893 w 1729902"/>
                <a:gd name="connsiteY88" fmla="*/ 112332 h 428598"/>
                <a:gd name="connsiteX89" fmla="*/ 122580 w 1729902"/>
                <a:gd name="connsiteY89" fmla="*/ 85525 h 428598"/>
                <a:gd name="connsiteX90" fmla="*/ 0 w 1729902"/>
                <a:gd name="connsiteY90" fmla="*/ 208327 h 428598"/>
                <a:gd name="connsiteX91" fmla="*/ 122580 w 1729902"/>
                <a:gd name="connsiteY91" fmla="*/ 330348 h 428598"/>
                <a:gd name="connsiteX92" fmla="*/ 193023 w 1729902"/>
                <a:gd name="connsiteY92" fmla="*/ 300721 h 428598"/>
                <a:gd name="connsiteX93" fmla="*/ 220505 w 1729902"/>
                <a:gd name="connsiteY93" fmla="*/ 325403 h 428598"/>
                <a:gd name="connsiteX94" fmla="*/ 229010 w 1729902"/>
                <a:gd name="connsiteY94" fmla="*/ 323693 h 428598"/>
                <a:gd name="connsiteX95" fmla="*/ 236126 w 1729902"/>
                <a:gd name="connsiteY95" fmla="*/ 318742 h 428598"/>
                <a:gd name="connsiteX96" fmla="*/ 240673 w 1729902"/>
                <a:gd name="connsiteY96" fmla="*/ 311372 h 428598"/>
                <a:gd name="connsiteX97" fmla="*/ 241899 w 1729902"/>
                <a:gd name="connsiteY97" fmla="*/ 302803 h 428598"/>
                <a:gd name="connsiteX98" fmla="*/ 241899 w 1729902"/>
                <a:gd name="connsiteY98" fmla="*/ 25186 h 428598"/>
                <a:gd name="connsiteX99" fmla="*/ 240287 w 1729902"/>
                <a:gd name="connsiteY99" fmla="*/ 15306 h 428598"/>
                <a:gd name="connsiteX100" fmla="*/ 234766 w 1729902"/>
                <a:gd name="connsiteY100" fmla="*/ 6947 h 428598"/>
                <a:gd name="connsiteX101" fmla="*/ 226302 w 1729902"/>
                <a:gd name="connsiteY101" fmla="*/ 1569 h 428598"/>
                <a:gd name="connsiteX102" fmla="*/ 216374 w 1729902"/>
                <a:gd name="connsiteY102" fmla="*/ 114 h 428598"/>
                <a:gd name="connsiteX103" fmla="*/ 216374 w 1729902"/>
                <a:gd name="connsiteY103" fmla="*/ 71 h 428598"/>
                <a:gd name="connsiteX104" fmla="*/ 122102 w 1729902"/>
                <a:gd name="connsiteY104" fmla="*/ 276430 h 428598"/>
                <a:gd name="connsiteX105" fmla="*/ 84073 w 1729902"/>
                <a:gd name="connsiteY105" fmla="*/ 264970 h 428598"/>
                <a:gd name="connsiteX106" fmla="*/ 58843 w 1729902"/>
                <a:gd name="connsiteY106" fmla="*/ 234358 h 428598"/>
                <a:gd name="connsiteX107" fmla="*/ 54922 w 1729902"/>
                <a:gd name="connsiteY107" fmla="*/ 194922 h 428598"/>
                <a:gd name="connsiteX108" fmla="*/ 73634 w 1729902"/>
                <a:gd name="connsiteY108" fmla="*/ 159964 h 428598"/>
                <a:gd name="connsiteX109" fmla="*/ 108665 w 1729902"/>
                <a:gd name="connsiteY109" fmla="*/ 141276 h 428598"/>
                <a:gd name="connsiteX110" fmla="*/ 148200 w 1729902"/>
                <a:gd name="connsiteY110" fmla="*/ 145162 h 428598"/>
                <a:gd name="connsiteX111" fmla="*/ 178902 w 1729902"/>
                <a:gd name="connsiteY111" fmla="*/ 170311 h 428598"/>
                <a:gd name="connsiteX112" fmla="*/ 190415 w 1729902"/>
                <a:gd name="connsiteY112" fmla="*/ 208240 h 428598"/>
                <a:gd name="connsiteX113" fmla="*/ 170396 w 1729902"/>
                <a:gd name="connsiteY113" fmla="*/ 256430 h 428598"/>
                <a:gd name="connsiteX114" fmla="*/ 122102 w 1729902"/>
                <a:gd name="connsiteY114" fmla="*/ 276430 h 428598"/>
                <a:gd name="connsiteX115" fmla="*/ 587634 w 1729902"/>
                <a:gd name="connsiteY115" fmla="*/ 90860 h 428598"/>
                <a:gd name="connsiteX116" fmla="*/ 560805 w 1729902"/>
                <a:gd name="connsiteY116" fmla="*/ 115455 h 428598"/>
                <a:gd name="connsiteX117" fmla="*/ 490145 w 1729902"/>
                <a:gd name="connsiteY117" fmla="*/ 85525 h 428598"/>
                <a:gd name="connsiteX118" fmla="*/ 367522 w 1729902"/>
                <a:gd name="connsiteY118" fmla="*/ 207936 h 428598"/>
                <a:gd name="connsiteX119" fmla="*/ 490145 w 1729902"/>
                <a:gd name="connsiteY119" fmla="*/ 330348 h 428598"/>
                <a:gd name="connsiteX120" fmla="*/ 557937 w 1729902"/>
                <a:gd name="connsiteY120" fmla="*/ 304322 h 428598"/>
                <a:gd name="connsiteX121" fmla="*/ 485187 w 1729902"/>
                <a:gd name="connsiteY121" fmla="*/ 377631 h 428598"/>
                <a:gd name="connsiteX122" fmla="*/ 475153 w 1729902"/>
                <a:gd name="connsiteY122" fmla="*/ 379097 h 428598"/>
                <a:gd name="connsiteX123" fmla="*/ 466627 w 1729902"/>
                <a:gd name="connsiteY123" fmla="*/ 384576 h 428598"/>
                <a:gd name="connsiteX124" fmla="*/ 461134 w 1729902"/>
                <a:gd name="connsiteY124" fmla="*/ 393081 h 428598"/>
                <a:gd name="connsiteX125" fmla="*/ 459665 w 1729902"/>
                <a:gd name="connsiteY125" fmla="*/ 403091 h 428598"/>
                <a:gd name="connsiteX126" fmla="*/ 486843 w 1729902"/>
                <a:gd name="connsiteY126" fmla="*/ 428598 h 428598"/>
                <a:gd name="connsiteX127" fmla="*/ 609423 w 1729902"/>
                <a:gd name="connsiteY127" fmla="*/ 306577 h 428598"/>
                <a:gd name="connsiteX128" fmla="*/ 609423 w 1729902"/>
                <a:gd name="connsiteY128" fmla="*/ 113069 h 428598"/>
                <a:gd name="connsiteX129" fmla="*/ 608059 w 1729902"/>
                <a:gd name="connsiteY129" fmla="*/ 104532 h 428598"/>
                <a:gd name="connsiteX130" fmla="*/ 603396 w 1729902"/>
                <a:gd name="connsiteY130" fmla="*/ 97246 h 428598"/>
                <a:gd name="connsiteX131" fmla="*/ 596204 w 1729902"/>
                <a:gd name="connsiteY131" fmla="*/ 92421 h 428598"/>
                <a:gd name="connsiteX132" fmla="*/ 587678 w 1729902"/>
                <a:gd name="connsiteY132" fmla="*/ 90860 h 428598"/>
                <a:gd name="connsiteX133" fmla="*/ 587634 w 1729902"/>
                <a:gd name="connsiteY133" fmla="*/ 90860 h 428598"/>
                <a:gd name="connsiteX134" fmla="*/ 489015 w 1729902"/>
                <a:gd name="connsiteY134" fmla="*/ 276430 h 428598"/>
                <a:gd name="connsiteX135" fmla="*/ 450987 w 1729902"/>
                <a:gd name="connsiteY135" fmla="*/ 264970 h 428598"/>
                <a:gd name="connsiteX136" fmla="*/ 425757 w 1729902"/>
                <a:gd name="connsiteY136" fmla="*/ 234358 h 428598"/>
                <a:gd name="connsiteX137" fmla="*/ 421837 w 1729902"/>
                <a:gd name="connsiteY137" fmla="*/ 194922 h 428598"/>
                <a:gd name="connsiteX138" fmla="*/ 440549 w 1729902"/>
                <a:gd name="connsiteY138" fmla="*/ 159964 h 428598"/>
                <a:gd name="connsiteX139" fmla="*/ 475579 w 1729902"/>
                <a:gd name="connsiteY139" fmla="*/ 141276 h 428598"/>
                <a:gd name="connsiteX140" fmla="*/ 515115 w 1729902"/>
                <a:gd name="connsiteY140" fmla="*/ 145162 h 428598"/>
                <a:gd name="connsiteX141" fmla="*/ 545817 w 1729902"/>
                <a:gd name="connsiteY141" fmla="*/ 170311 h 428598"/>
                <a:gd name="connsiteX142" fmla="*/ 557328 w 1729902"/>
                <a:gd name="connsiteY142" fmla="*/ 208240 h 428598"/>
                <a:gd name="connsiteX143" fmla="*/ 537308 w 1729902"/>
                <a:gd name="connsiteY143" fmla="*/ 256430 h 428598"/>
                <a:gd name="connsiteX144" fmla="*/ 489015 w 1729902"/>
                <a:gd name="connsiteY144" fmla="*/ 276430 h 428598"/>
                <a:gd name="connsiteX145" fmla="*/ 1626847 w 1729902"/>
                <a:gd name="connsiteY145" fmla="*/ 89125 h 428598"/>
                <a:gd name="connsiteX146" fmla="*/ 1617152 w 1729902"/>
                <a:gd name="connsiteY146" fmla="*/ 90889 h 428598"/>
                <a:gd name="connsiteX147" fmla="*/ 1608930 w 1729902"/>
                <a:gd name="connsiteY147" fmla="*/ 96313 h 428598"/>
                <a:gd name="connsiteX148" fmla="*/ 1603511 w 1729902"/>
                <a:gd name="connsiteY148" fmla="*/ 104523 h 428598"/>
                <a:gd name="connsiteX149" fmla="*/ 1601760 w 1729902"/>
                <a:gd name="connsiteY149" fmla="*/ 114197 h 428598"/>
                <a:gd name="connsiteX150" fmla="*/ 1601147 w 1729902"/>
                <a:gd name="connsiteY150" fmla="*/ 300721 h 428598"/>
                <a:gd name="connsiteX151" fmla="*/ 1602677 w 1729902"/>
                <a:gd name="connsiteY151" fmla="*/ 310576 h 428598"/>
                <a:gd name="connsiteX152" fmla="*/ 1608061 w 1729902"/>
                <a:gd name="connsiteY152" fmla="*/ 318977 h 428598"/>
                <a:gd name="connsiteX153" fmla="*/ 1616387 w 1729902"/>
                <a:gd name="connsiteY153" fmla="*/ 324492 h 428598"/>
                <a:gd name="connsiteX154" fmla="*/ 1626238 w 1729902"/>
                <a:gd name="connsiteY154" fmla="*/ 326184 h 428598"/>
                <a:gd name="connsiteX155" fmla="*/ 1651764 w 1729902"/>
                <a:gd name="connsiteY155" fmla="*/ 300721 h 428598"/>
                <a:gd name="connsiteX156" fmla="*/ 1652373 w 1729902"/>
                <a:gd name="connsiteY156" fmla="*/ 114197 h 428598"/>
                <a:gd name="connsiteX157" fmla="*/ 1650773 w 1729902"/>
                <a:gd name="connsiteY157" fmla="*/ 104309 h 428598"/>
                <a:gd name="connsiteX158" fmla="*/ 1645255 w 1729902"/>
                <a:gd name="connsiteY158" fmla="*/ 95942 h 428598"/>
                <a:gd name="connsiteX159" fmla="*/ 1636785 w 1729902"/>
                <a:gd name="connsiteY159" fmla="*/ 90566 h 428598"/>
                <a:gd name="connsiteX160" fmla="*/ 1626847 w 1729902"/>
                <a:gd name="connsiteY160" fmla="*/ 89125 h 428598"/>
                <a:gd name="connsiteX161" fmla="*/ 307559 w 1729902"/>
                <a:gd name="connsiteY161" fmla="*/ 88040 h 428598"/>
                <a:gd name="connsiteX162" fmla="*/ 297857 w 1729902"/>
                <a:gd name="connsiteY162" fmla="*/ 89804 h 428598"/>
                <a:gd name="connsiteX163" fmla="*/ 289628 w 1729902"/>
                <a:gd name="connsiteY163" fmla="*/ 95226 h 428598"/>
                <a:gd name="connsiteX164" fmla="*/ 284194 w 1729902"/>
                <a:gd name="connsiteY164" fmla="*/ 103435 h 428598"/>
                <a:gd name="connsiteX165" fmla="*/ 282425 w 1729902"/>
                <a:gd name="connsiteY165" fmla="*/ 113113 h 428598"/>
                <a:gd name="connsiteX166" fmla="*/ 282425 w 1729902"/>
                <a:gd name="connsiteY166" fmla="*/ 299941 h 428598"/>
                <a:gd name="connsiteX167" fmla="*/ 283955 w 1729902"/>
                <a:gd name="connsiteY167" fmla="*/ 309806 h 428598"/>
                <a:gd name="connsiteX168" fmla="*/ 289351 w 1729902"/>
                <a:gd name="connsiteY168" fmla="*/ 318213 h 428598"/>
                <a:gd name="connsiteX169" fmla="*/ 297694 w 1729902"/>
                <a:gd name="connsiteY169" fmla="*/ 323726 h 428598"/>
                <a:gd name="connsiteX170" fmla="*/ 307559 w 1729902"/>
                <a:gd name="connsiteY170" fmla="*/ 325403 h 428598"/>
                <a:gd name="connsiteX171" fmla="*/ 333040 w 1729902"/>
                <a:gd name="connsiteY171" fmla="*/ 299941 h 428598"/>
                <a:gd name="connsiteX172" fmla="*/ 333040 w 1729902"/>
                <a:gd name="connsiteY172" fmla="*/ 113113 h 428598"/>
                <a:gd name="connsiteX173" fmla="*/ 331445 w 1729902"/>
                <a:gd name="connsiteY173" fmla="*/ 103235 h 428598"/>
                <a:gd name="connsiteX174" fmla="*/ 325937 w 1729902"/>
                <a:gd name="connsiteY174" fmla="*/ 94875 h 428598"/>
                <a:gd name="connsiteX175" fmla="*/ 317481 w 1729902"/>
                <a:gd name="connsiteY175" fmla="*/ 89496 h 428598"/>
                <a:gd name="connsiteX176" fmla="*/ 307559 w 1729902"/>
                <a:gd name="connsiteY176" fmla="*/ 88040 h 428598"/>
                <a:gd name="connsiteX177" fmla="*/ 679474 w 1729902"/>
                <a:gd name="connsiteY177" fmla="*/ 88691 h 428598"/>
                <a:gd name="connsiteX178" fmla="*/ 669779 w 1729902"/>
                <a:gd name="connsiteY178" fmla="*/ 90455 h 428598"/>
                <a:gd name="connsiteX179" fmla="*/ 661557 w 1729902"/>
                <a:gd name="connsiteY179" fmla="*/ 95879 h 428598"/>
                <a:gd name="connsiteX180" fmla="*/ 656134 w 1729902"/>
                <a:gd name="connsiteY180" fmla="*/ 104089 h 428598"/>
                <a:gd name="connsiteX181" fmla="*/ 654382 w 1729902"/>
                <a:gd name="connsiteY181" fmla="*/ 113763 h 428598"/>
                <a:gd name="connsiteX182" fmla="*/ 654382 w 1729902"/>
                <a:gd name="connsiteY182" fmla="*/ 299941 h 428598"/>
                <a:gd name="connsiteX183" fmla="*/ 655908 w 1729902"/>
                <a:gd name="connsiteY183" fmla="*/ 309795 h 428598"/>
                <a:gd name="connsiteX184" fmla="*/ 661296 w 1729902"/>
                <a:gd name="connsiteY184" fmla="*/ 318196 h 428598"/>
                <a:gd name="connsiteX185" fmla="*/ 669622 w 1729902"/>
                <a:gd name="connsiteY185" fmla="*/ 323712 h 428598"/>
                <a:gd name="connsiteX186" fmla="*/ 679474 w 1729902"/>
                <a:gd name="connsiteY186" fmla="*/ 325403 h 428598"/>
                <a:gd name="connsiteX187" fmla="*/ 705000 w 1729902"/>
                <a:gd name="connsiteY187" fmla="*/ 299941 h 428598"/>
                <a:gd name="connsiteX188" fmla="*/ 705000 w 1729902"/>
                <a:gd name="connsiteY188" fmla="*/ 113763 h 428598"/>
                <a:gd name="connsiteX189" fmla="*/ 703440 w 1729902"/>
                <a:gd name="connsiteY189" fmla="*/ 103835 h 428598"/>
                <a:gd name="connsiteX190" fmla="*/ 697930 w 1729902"/>
                <a:gd name="connsiteY190" fmla="*/ 95421 h 428598"/>
                <a:gd name="connsiteX191" fmla="*/ 689443 w 1729902"/>
                <a:gd name="connsiteY191" fmla="*/ 90012 h 428598"/>
                <a:gd name="connsiteX192" fmla="*/ 679474 w 1729902"/>
                <a:gd name="connsiteY192" fmla="*/ 88561 h 428598"/>
                <a:gd name="connsiteX193" fmla="*/ 679474 w 1729902"/>
                <a:gd name="connsiteY193" fmla="*/ 88691 h 428598"/>
                <a:gd name="connsiteX194" fmla="*/ 836319 w 1729902"/>
                <a:gd name="connsiteY194" fmla="*/ 275996 h 428598"/>
                <a:gd name="connsiteX195" fmla="*/ 809446 w 1729902"/>
                <a:gd name="connsiteY195" fmla="*/ 250924 h 428598"/>
                <a:gd name="connsiteX196" fmla="*/ 809446 w 1729902"/>
                <a:gd name="connsiteY196" fmla="*/ 143434 h 428598"/>
                <a:gd name="connsiteX197" fmla="*/ 822492 w 1729902"/>
                <a:gd name="connsiteY197" fmla="*/ 143434 h 428598"/>
                <a:gd name="connsiteX198" fmla="*/ 832234 w 1729902"/>
                <a:gd name="connsiteY198" fmla="*/ 141763 h 428598"/>
                <a:gd name="connsiteX199" fmla="*/ 840504 w 1729902"/>
                <a:gd name="connsiteY199" fmla="*/ 136361 h 428598"/>
                <a:gd name="connsiteX200" fmla="*/ 845932 w 1729902"/>
                <a:gd name="connsiteY200" fmla="*/ 128121 h 428598"/>
                <a:gd name="connsiteX201" fmla="*/ 847622 w 1729902"/>
                <a:gd name="connsiteY201" fmla="*/ 118405 h 428598"/>
                <a:gd name="connsiteX202" fmla="*/ 822492 w 1729902"/>
                <a:gd name="connsiteY202" fmla="*/ 92899 h 428598"/>
                <a:gd name="connsiteX203" fmla="*/ 809446 w 1729902"/>
                <a:gd name="connsiteY203" fmla="*/ 92899 h 428598"/>
                <a:gd name="connsiteX204" fmla="*/ 809446 w 1729902"/>
                <a:gd name="connsiteY204" fmla="*/ 25577 h 428598"/>
                <a:gd name="connsiteX205" fmla="*/ 783920 w 1729902"/>
                <a:gd name="connsiteY205" fmla="*/ 114 h 428598"/>
                <a:gd name="connsiteX206" fmla="*/ 774069 w 1729902"/>
                <a:gd name="connsiteY206" fmla="*/ 1805 h 428598"/>
                <a:gd name="connsiteX207" fmla="*/ 765742 w 1729902"/>
                <a:gd name="connsiteY207" fmla="*/ 7321 h 428598"/>
                <a:gd name="connsiteX208" fmla="*/ 760358 w 1729902"/>
                <a:gd name="connsiteY208" fmla="*/ 15722 h 428598"/>
                <a:gd name="connsiteX209" fmla="*/ 758829 w 1729902"/>
                <a:gd name="connsiteY209" fmla="*/ 25577 h 428598"/>
                <a:gd name="connsiteX210" fmla="*/ 758829 w 1729902"/>
                <a:gd name="connsiteY210" fmla="*/ 93506 h 428598"/>
                <a:gd name="connsiteX211" fmla="*/ 739091 w 1729902"/>
                <a:gd name="connsiteY211" fmla="*/ 118405 h 428598"/>
                <a:gd name="connsiteX212" fmla="*/ 744306 w 1729902"/>
                <a:gd name="connsiteY212" fmla="*/ 134497 h 428598"/>
                <a:gd name="connsiteX213" fmla="*/ 758829 w 1729902"/>
                <a:gd name="connsiteY213" fmla="*/ 143217 h 428598"/>
                <a:gd name="connsiteX214" fmla="*/ 758829 w 1729902"/>
                <a:gd name="connsiteY214" fmla="*/ 251444 h 428598"/>
                <a:gd name="connsiteX215" fmla="*/ 828406 w 1729902"/>
                <a:gd name="connsiteY215" fmla="*/ 325186 h 428598"/>
                <a:gd name="connsiteX216" fmla="*/ 857626 w 1729902"/>
                <a:gd name="connsiteY216" fmla="*/ 301762 h 428598"/>
                <a:gd name="connsiteX217" fmla="*/ 836363 w 1729902"/>
                <a:gd name="connsiteY217" fmla="*/ 275736 h 428598"/>
                <a:gd name="connsiteX218" fmla="*/ 836319 w 1729902"/>
                <a:gd name="connsiteY218" fmla="*/ 275996 h 428598"/>
                <a:gd name="connsiteX219" fmla="*/ 1181837 w 1729902"/>
                <a:gd name="connsiteY219" fmla="*/ 71 h 428598"/>
                <a:gd name="connsiteX220" fmla="*/ 1172055 w 1729902"/>
                <a:gd name="connsiteY220" fmla="*/ 1678 h 428598"/>
                <a:gd name="connsiteX221" fmla="*/ 1163750 w 1729902"/>
                <a:gd name="connsiteY221" fmla="*/ 7087 h 428598"/>
                <a:gd name="connsiteX222" fmla="*/ 1158340 w 1729902"/>
                <a:gd name="connsiteY222" fmla="*/ 15379 h 428598"/>
                <a:gd name="connsiteX223" fmla="*/ 1156750 w 1729902"/>
                <a:gd name="connsiteY223" fmla="*/ 25143 h 428598"/>
                <a:gd name="connsiteX224" fmla="*/ 1156750 w 1729902"/>
                <a:gd name="connsiteY224" fmla="*/ 299941 h 428598"/>
                <a:gd name="connsiteX225" fmla="*/ 1158275 w 1729902"/>
                <a:gd name="connsiteY225" fmla="*/ 309795 h 428598"/>
                <a:gd name="connsiteX226" fmla="*/ 1163659 w 1729902"/>
                <a:gd name="connsiteY226" fmla="*/ 318196 h 428598"/>
                <a:gd name="connsiteX227" fmla="*/ 1171985 w 1729902"/>
                <a:gd name="connsiteY227" fmla="*/ 323712 h 428598"/>
                <a:gd name="connsiteX228" fmla="*/ 1181837 w 1729902"/>
                <a:gd name="connsiteY228" fmla="*/ 325403 h 428598"/>
                <a:gd name="connsiteX229" fmla="*/ 1207363 w 1729902"/>
                <a:gd name="connsiteY229" fmla="*/ 299941 h 428598"/>
                <a:gd name="connsiteX230" fmla="*/ 1207363 w 1729902"/>
                <a:gd name="connsiteY230" fmla="*/ 25143 h 428598"/>
                <a:gd name="connsiteX231" fmla="*/ 1181837 w 1729902"/>
                <a:gd name="connsiteY231" fmla="*/ 71 h 428598"/>
                <a:gd name="connsiteX232" fmla="*/ 1329682 w 1729902"/>
                <a:gd name="connsiteY232" fmla="*/ 251184 h 428598"/>
                <a:gd name="connsiteX233" fmla="*/ 1326897 w 1729902"/>
                <a:gd name="connsiteY233" fmla="*/ 247497 h 428598"/>
                <a:gd name="connsiteX234" fmla="*/ 1319070 w 1729902"/>
                <a:gd name="connsiteY234" fmla="*/ 239993 h 428598"/>
                <a:gd name="connsiteX235" fmla="*/ 1315942 w 1729902"/>
                <a:gd name="connsiteY235" fmla="*/ 237824 h 428598"/>
                <a:gd name="connsiteX236" fmla="*/ 1298286 w 1729902"/>
                <a:gd name="connsiteY236" fmla="*/ 230797 h 428598"/>
                <a:gd name="connsiteX237" fmla="*/ 1290242 w 1729902"/>
                <a:gd name="connsiteY237" fmla="*/ 230146 h 428598"/>
                <a:gd name="connsiteX238" fmla="*/ 1267241 w 1729902"/>
                <a:gd name="connsiteY238" fmla="*/ 236045 h 428598"/>
                <a:gd name="connsiteX239" fmla="*/ 1263325 w 1729902"/>
                <a:gd name="connsiteY239" fmla="*/ 238431 h 428598"/>
                <a:gd name="connsiteX240" fmla="*/ 1247838 w 1729902"/>
                <a:gd name="connsiteY240" fmla="*/ 255588 h 428598"/>
                <a:gd name="connsiteX241" fmla="*/ 1242236 w 1729902"/>
                <a:gd name="connsiteY241" fmla="*/ 277992 h 428598"/>
                <a:gd name="connsiteX242" fmla="*/ 1247838 w 1729902"/>
                <a:gd name="connsiteY242" fmla="*/ 300395 h 428598"/>
                <a:gd name="connsiteX243" fmla="*/ 1263325 w 1729902"/>
                <a:gd name="connsiteY243" fmla="*/ 317552 h 428598"/>
                <a:gd name="connsiteX244" fmla="*/ 1267241 w 1729902"/>
                <a:gd name="connsiteY244" fmla="*/ 319938 h 428598"/>
                <a:gd name="connsiteX245" fmla="*/ 1294614 w 1729902"/>
                <a:gd name="connsiteY245" fmla="*/ 325476 h 428598"/>
                <a:gd name="connsiteX246" fmla="*/ 1320418 w 1729902"/>
                <a:gd name="connsiteY246" fmla="*/ 314819 h 428598"/>
                <a:gd name="connsiteX247" fmla="*/ 1326897 w 1729902"/>
                <a:gd name="connsiteY247" fmla="*/ 308312 h 428598"/>
                <a:gd name="connsiteX248" fmla="*/ 1329682 w 1729902"/>
                <a:gd name="connsiteY248" fmla="*/ 304669 h 428598"/>
                <a:gd name="connsiteX249" fmla="*/ 1334028 w 1729902"/>
                <a:gd name="connsiteY249" fmla="*/ 296557 h 428598"/>
                <a:gd name="connsiteX250" fmla="*/ 1337604 w 1729902"/>
                <a:gd name="connsiteY250" fmla="*/ 273386 h 428598"/>
                <a:gd name="connsiteX251" fmla="*/ 1329682 w 1729902"/>
                <a:gd name="connsiteY251" fmla="*/ 251314 h 428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1729902" h="428598">
                  <a:moveTo>
                    <a:pt x="1682722" y="96586"/>
                  </a:moveTo>
                  <a:lnTo>
                    <a:pt x="1674027" y="96586"/>
                  </a:lnTo>
                  <a:lnTo>
                    <a:pt x="1674027" y="91814"/>
                  </a:lnTo>
                  <a:lnTo>
                    <a:pt x="1695768" y="91814"/>
                  </a:lnTo>
                  <a:lnTo>
                    <a:pt x="1695768" y="96586"/>
                  </a:lnTo>
                  <a:lnTo>
                    <a:pt x="1687289" y="96586"/>
                  </a:lnTo>
                  <a:lnTo>
                    <a:pt x="1687289" y="122613"/>
                  </a:lnTo>
                  <a:lnTo>
                    <a:pt x="1682331" y="122613"/>
                  </a:lnTo>
                  <a:lnTo>
                    <a:pt x="1682722" y="96586"/>
                  </a:lnTo>
                  <a:close/>
                  <a:moveTo>
                    <a:pt x="1700118" y="91814"/>
                  </a:moveTo>
                  <a:lnTo>
                    <a:pt x="1707814" y="91814"/>
                  </a:lnTo>
                  <a:lnTo>
                    <a:pt x="1715032" y="113503"/>
                  </a:lnTo>
                  <a:lnTo>
                    <a:pt x="1722163" y="91814"/>
                  </a:lnTo>
                  <a:lnTo>
                    <a:pt x="1729902" y="91814"/>
                  </a:lnTo>
                  <a:lnTo>
                    <a:pt x="1729902" y="122526"/>
                  </a:lnTo>
                  <a:lnTo>
                    <a:pt x="1725035" y="122526"/>
                  </a:lnTo>
                  <a:lnTo>
                    <a:pt x="1725035" y="97844"/>
                  </a:lnTo>
                  <a:lnTo>
                    <a:pt x="1716596" y="122526"/>
                  </a:lnTo>
                  <a:lnTo>
                    <a:pt x="1713163" y="122526"/>
                  </a:lnTo>
                  <a:lnTo>
                    <a:pt x="1704859" y="97844"/>
                  </a:lnTo>
                  <a:lnTo>
                    <a:pt x="1704859" y="122526"/>
                  </a:lnTo>
                  <a:lnTo>
                    <a:pt x="1700161" y="122526"/>
                  </a:lnTo>
                  <a:lnTo>
                    <a:pt x="1700118" y="91814"/>
                  </a:lnTo>
                  <a:close/>
                  <a:moveTo>
                    <a:pt x="1531574" y="90860"/>
                  </a:moveTo>
                  <a:cubicBezTo>
                    <a:pt x="1525534" y="90641"/>
                    <a:pt x="1519628" y="92688"/>
                    <a:pt x="1515022" y="96598"/>
                  </a:cubicBezTo>
                  <a:cubicBezTo>
                    <a:pt x="1510415" y="100509"/>
                    <a:pt x="1507447" y="105999"/>
                    <a:pt x="1506704" y="111985"/>
                  </a:cubicBezTo>
                  <a:cubicBezTo>
                    <a:pt x="1490004" y="94894"/>
                    <a:pt x="1465699" y="85525"/>
                    <a:pt x="1437783" y="85525"/>
                  </a:cubicBezTo>
                  <a:cubicBezTo>
                    <a:pt x="1421605" y="85409"/>
                    <a:pt x="1405569" y="88509"/>
                    <a:pt x="1390608" y="94645"/>
                  </a:cubicBezTo>
                  <a:cubicBezTo>
                    <a:pt x="1375646" y="100781"/>
                    <a:pt x="1362061" y="109830"/>
                    <a:pt x="1350646" y="121263"/>
                  </a:cubicBezTo>
                  <a:cubicBezTo>
                    <a:pt x="1339230" y="132696"/>
                    <a:pt x="1330208" y="146283"/>
                    <a:pt x="1324116" y="161232"/>
                  </a:cubicBezTo>
                  <a:cubicBezTo>
                    <a:pt x="1318023" y="176181"/>
                    <a:pt x="1314977" y="192191"/>
                    <a:pt x="1315159" y="208327"/>
                  </a:cubicBezTo>
                  <a:cubicBezTo>
                    <a:pt x="1315159" y="210019"/>
                    <a:pt x="1315159" y="211623"/>
                    <a:pt x="1315159" y="213272"/>
                  </a:cubicBezTo>
                  <a:cubicBezTo>
                    <a:pt x="1328183" y="218356"/>
                    <a:pt x="1339369" y="227239"/>
                    <a:pt x="1347260" y="238760"/>
                  </a:cubicBezTo>
                  <a:cubicBezTo>
                    <a:pt x="1355148" y="250282"/>
                    <a:pt x="1359372" y="263908"/>
                    <a:pt x="1359380" y="277861"/>
                  </a:cubicBezTo>
                  <a:cubicBezTo>
                    <a:pt x="1359372" y="285544"/>
                    <a:pt x="1358064" y="293170"/>
                    <a:pt x="1355513" y="300417"/>
                  </a:cubicBezTo>
                  <a:cubicBezTo>
                    <a:pt x="1378301" y="320080"/>
                    <a:pt x="1407525" y="330728"/>
                    <a:pt x="1437653" y="330348"/>
                  </a:cubicBezTo>
                  <a:cubicBezTo>
                    <a:pt x="1463201" y="329742"/>
                    <a:pt x="1487658" y="319873"/>
                    <a:pt x="1506444" y="302587"/>
                  </a:cubicBezTo>
                  <a:cubicBezTo>
                    <a:pt x="1506735" y="308916"/>
                    <a:pt x="1509533" y="314871"/>
                    <a:pt x="1514218" y="319148"/>
                  </a:cubicBezTo>
                  <a:cubicBezTo>
                    <a:pt x="1518907" y="323425"/>
                    <a:pt x="1525099" y="325674"/>
                    <a:pt x="1531444" y="325403"/>
                  </a:cubicBezTo>
                  <a:cubicBezTo>
                    <a:pt x="1547188" y="325403"/>
                    <a:pt x="1556926" y="315643"/>
                    <a:pt x="1556926" y="299941"/>
                  </a:cubicBezTo>
                  <a:lnTo>
                    <a:pt x="1556926" y="115932"/>
                  </a:lnTo>
                  <a:cubicBezTo>
                    <a:pt x="1557143" y="112554"/>
                    <a:pt x="1556626" y="109169"/>
                    <a:pt x="1555418" y="106006"/>
                  </a:cubicBezTo>
                  <a:cubicBezTo>
                    <a:pt x="1554210" y="102843"/>
                    <a:pt x="1552333" y="99976"/>
                    <a:pt x="1549917" y="97599"/>
                  </a:cubicBezTo>
                  <a:cubicBezTo>
                    <a:pt x="1547501" y="95222"/>
                    <a:pt x="1544602" y="93390"/>
                    <a:pt x="1541417" y="92228"/>
                  </a:cubicBezTo>
                  <a:cubicBezTo>
                    <a:pt x="1538227" y="91065"/>
                    <a:pt x="1534829" y="90598"/>
                    <a:pt x="1531444" y="90860"/>
                  </a:cubicBezTo>
                  <a:lnTo>
                    <a:pt x="1531574" y="90860"/>
                  </a:lnTo>
                  <a:close/>
                  <a:moveTo>
                    <a:pt x="1437436" y="276430"/>
                  </a:moveTo>
                  <a:cubicBezTo>
                    <a:pt x="1423899" y="276447"/>
                    <a:pt x="1410667" y="272459"/>
                    <a:pt x="1399403" y="264970"/>
                  </a:cubicBezTo>
                  <a:cubicBezTo>
                    <a:pt x="1388144" y="257480"/>
                    <a:pt x="1379365" y="246828"/>
                    <a:pt x="1374177" y="234358"/>
                  </a:cubicBezTo>
                  <a:cubicBezTo>
                    <a:pt x="1368984" y="221890"/>
                    <a:pt x="1367619" y="208165"/>
                    <a:pt x="1370253" y="194922"/>
                  </a:cubicBezTo>
                  <a:cubicBezTo>
                    <a:pt x="1372886" y="181680"/>
                    <a:pt x="1379400" y="169514"/>
                    <a:pt x="1388965" y="159964"/>
                  </a:cubicBezTo>
                  <a:cubicBezTo>
                    <a:pt x="1398534" y="150415"/>
                    <a:pt x="1410723" y="143911"/>
                    <a:pt x="1423999" y="141276"/>
                  </a:cubicBezTo>
                  <a:cubicBezTo>
                    <a:pt x="1437270" y="138641"/>
                    <a:pt x="1451029" y="139993"/>
                    <a:pt x="1463531" y="145162"/>
                  </a:cubicBezTo>
                  <a:cubicBezTo>
                    <a:pt x="1476033" y="150330"/>
                    <a:pt x="1486719" y="159083"/>
                    <a:pt x="1494232" y="170311"/>
                  </a:cubicBezTo>
                  <a:cubicBezTo>
                    <a:pt x="1501750" y="181539"/>
                    <a:pt x="1505757" y="194739"/>
                    <a:pt x="1505748" y="208240"/>
                  </a:cubicBezTo>
                  <a:cubicBezTo>
                    <a:pt x="1505735" y="226314"/>
                    <a:pt x="1498535" y="243645"/>
                    <a:pt x="1485728" y="256430"/>
                  </a:cubicBezTo>
                  <a:cubicBezTo>
                    <a:pt x="1472922" y="269214"/>
                    <a:pt x="1455552" y="276407"/>
                    <a:pt x="1437436" y="276430"/>
                  </a:cubicBezTo>
                  <a:close/>
                  <a:moveTo>
                    <a:pt x="1082784" y="90860"/>
                  </a:moveTo>
                  <a:cubicBezTo>
                    <a:pt x="1076743" y="90641"/>
                    <a:pt x="1070842" y="92690"/>
                    <a:pt x="1066244" y="96602"/>
                  </a:cubicBezTo>
                  <a:cubicBezTo>
                    <a:pt x="1061651" y="100513"/>
                    <a:pt x="1058692" y="106003"/>
                    <a:pt x="1057953" y="111985"/>
                  </a:cubicBezTo>
                  <a:cubicBezTo>
                    <a:pt x="1041257" y="94894"/>
                    <a:pt x="1016948" y="85525"/>
                    <a:pt x="989032" y="85525"/>
                  </a:cubicBezTo>
                  <a:cubicBezTo>
                    <a:pt x="972857" y="85409"/>
                    <a:pt x="956818" y="88509"/>
                    <a:pt x="941856" y="94645"/>
                  </a:cubicBezTo>
                  <a:cubicBezTo>
                    <a:pt x="926894" y="100781"/>
                    <a:pt x="913310" y="109830"/>
                    <a:pt x="901894" y="121263"/>
                  </a:cubicBezTo>
                  <a:cubicBezTo>
                    <a:pt x="890478" y="132696"/>
                    <a:pt x="881461" y="146283"/>
                    <a:pt x="875369" y="161232"/>
                  </a:cubicBezTo>
                  <a:cubicBezTo>
                    <a:pt x="869276" y="176181"/>
                    <a:pt x="866230" y="192191"/>
                    <a:pt x="866408" y="208327"/>
                  </a:cubicBezTo>
                  <a:cubicBezTo>
                    <a:pt x="866408" y="277731"/>
                    <a:pt x="919111" y="330348"/>
                    <a:pt x="989032" y="330348"/>
                  </a:cubicBezTo>
                  <a:cubicBezTo>
                    <a:pt x="1014584" y="329742"/>
                    <a:pt x="1039037" y="319873"/>
                    <a:pt x="1057823" y="302587"/>
                  </a:cubicBezTo>
                  <a:cubicBezTo>
                    <a:pt x="1058118" y="308908"/>
                    <a:pt x="1060908" y="314857"/>
                    <a:pt x="1065584" y="319132"/>
                  </a:cubicBezTo>
                  <a:cubicBezTo>
                    <a:pt x="1070260" y="323407"/>
                    <a:pt x="1076443" y="325662"/>
                    <a:pt x="1082784" y="325403"/>
                  </a:cubicBezTo>
                  <a:cubicBezTo>
                    <a:pt x="1098523" y="325403"/>
                    <a:pt x="1108305" y="315643"/>
                    <a:pt x="1108305" y="299941"/>
                  </a:cubicBezTo>
                  <a:lnTo>
                    <a:pt x="1108305" y="115932"/>
                  </a:lnTo>
                  <a:cubicBezTo>
                    <a:pt x="1108305" y="100707"/>
                    <a:pt x="1098306" y="90860"/>
                    <a:pt x="1082784" y="90860"/>
                  </a:cubicBezTo>
                  <a:close/>
                  <a:moveTo>
                    <a:pt x="986902" y="276430"/>
                  </a:moveTo>
                  <a:cubicBezTo>
                    <a:pt x="973366" y="276447"/>
                    <a:pt x="960134" y="272459"/>
                    <a:pt x="948874" y="264970"/>
                  </a:cubicBezTo>
                  <a:cubicBezTo>
                    <a:pt x="937610" y="257480"/>
                    <a:pt x="928832" y="246828"/>
                    <a:pt x="923644" y="234358"/>
                  </a:cubicBezTo>
                  <a:cubicBezTo>
                    <a:pt x="918455" y="221890"/>
                    <a:pt x="917091" y="208165"/>
                    <a:pt x="919720" y="194922"/>
                  </a:cubicBezTo>
                  <a:cubicBezTo>
                    <a:pt x="922353" y="181680"/>
                    <a:pt x="928867" y="169514"/>
                    <a:pt x="938432" y="159964"/>
                  </a:cubicBezTo>
                  <a:cubicBezTo>
                    <a:pt x="948001" y="150415"/>
                    <a:pt x="960190" y="143911"/>
                    <a:pt x="973466" y="141276"/>
                  </a:cubicBezTo>
                  <a:cubicBezTo>
                    <a:pt x="986737" y="138641"/>
                    <a:pt x="1000495" y="139993"/>
                    <a:pt x="1012998" y="145162"/>
                  </a:cubicBezTo>
                  <a:cubicBezTo>
                    <a:pt x="1025504" y="150330"/>
                    <a:pt x="1036186" y="159083"/>
                    <a:pt x="1043704" y="170311"/>
                  </a:cubicBezTo>
                  <a:cubicBezTo>
                    <a:pt x="1051217" y="181539"/>
                    <a:pt x="1055224" y="194739"/>
                    <a:pt x="1055215" y="208240"/>
                  </a:cubicBezTo>
                  <a:cubicBezTo>
                    <a:pt x="1055202" y="226314"/>
                    <a:pt x="1048001" y="243645"/>
                    <a:pt x="1035195" y="256430"/>
                  </a:cubicBezTo>
                  <a:cubicBezTo>
                    <a:pt x="1022388" y="269214"/>
                    <a:pt x="1005019" y="276407"/>
                    <a:pt x="986902" y="276430"/>
                  </a:cubicBezTo>
                  <a:close/>
                  <a:moveTo>
                    <a:pt x="216374" y="71"/>
                  </a:moveTo>
                  <a:cubicBezTo>
                    <a:pt x="212991" y="-191"/>
                    <a:pt x="209591" y="275"/>
                    <a:pt x="206404" y="1438"/>
                  </a:cubicBezTo>
                  <a:cubicBezTo>
                    <a:pt x="203217" y="2601"/>
                    <a:pt x="200317" y="4433"/>
                    <a:pt x="197902" y="6810"/>
                  </a:cubicBezTo>
                  <a:cubicBezTo>
                    <a:pt x="195485" y="9187"/>
                    <a:pt x="193610" y="12054"/>
                    <a:pt x="192400" y="15217"/>
                  </a:cubicBezTo>
                  <a:cubicBezTo>
                    <a:pt x="191191" y="18380"/>
                    <a:pt x="190677" y="21765"/>
                    <a:pt x="190893" y="25143"/>
                  </a:cubicBezTo>
                  <a:lnTo>
                    <a:pt x="190893" y="112332"/>
                  </a:lnTo>
                  <a:cubicBezTo>
                    <a:pt x="174847" y="94981"/>
                    <a:pt x="150801" y="85525"/>
                    <a:pt x="122580" y="85525"/>
                  </a:cubicBezTo>
                  <a:cubicBezTo>
                    <a:pt x="57355" y="85525"/>
                    <a:pt x="0" y="142913"/>
                    <a:pt x="0" y="208327"/>
                  </a:cubicBezTo>
                  <a:cubicBezTo>
                    <a:pt x="0" y="273740"/>
                    <a:pt x="57311" y="330348"/>
                    <a:pt x="122580" y="330348"/>
                  </a:cubicBezTo>
                  <a:cubicBezTo>
                    <a:pt x="148972" y="329717"/>
                    <a:pt x="174144" y="319130"/>
                    <a:pt x="193023" y="300721"/>
                  </a:cubicBezTo>
                  <a:cubicBezTo>
                    <a:pt x="195850" y="316684"/>
                    <a:pt x="205503" y="325403"/>
                    <a:pt x="220505" y="325403"/>
                  </a:cubicBezTo>
                  <a:cubicBezTo>
                    <a:pt x="223428" y="325421"/>
                    <a:pt x="226323" y="324839"/>
                    <a:pt x="229010" y="323693"/>
                  </a:cubicBezTo>
                  <a:cubicBezTo>
                    <a:pt x="231697" y="322547"/>
                    <a:pt x="234119" y="320861"/>
                    <a:pt x="236126" y="318742"/>
                  </a:cubicBezTo>
                  <a:cubicBezTo>
                    <a:pt x="238133" y="316622"/>
                    <a:pt x="239680" y="314114"/>
                    <a:pt x="240673" y="311372"/>
                  </a:cubicBezTo>
                  <a:cubicBezTo>
                    <a:pt x="241667" y="308629"/>
                    <a:pt x="242084" y="305713"/>
                    <a:pt x="241899" y="302803"/>
                  </a:cubicBezTo>
                  <a:lnTo>
                    <a:pt x="241899" y="25186"/>
                  </a:lnTo>
                  <a:cubicBezTo>
                    <a:pt x="242065" y="21817"/>
                    <a:pt x="241516" y="18450"/>
                    <a:pt x="240287" y="15306"/>
                  </a:cubicBezTo>
                  <a:cubicBezTo>
                    <a:pt x="239057" y="12163"/>
                    <a:pt x="237176" y="9314"/>
                    <a:pt x="234766" y="6947"/>
                  </a:cubicBezTo>
                  <a:cubicBezTo>
                    <a:pt x="232356" y="4580"/>
                    <a:pt x="229472" y="2747"/>
                    <a:pt x="226302" y="1569"/>
                  </a:cubicBezTo>
                  <a:cubicBezTo>
                    <a:pt x="223132" y="392"/>
                    <a:pt x="219749" y="-104"/>
                    <a:pt x="216374" y="114"/>
                  </a:cubicBezTo>
                  <a:lnTo>
                    <a:pt x="216374" y="71"/>
                  </a:lnTo>
                  <a:close/>
                  <a:moveTo>
                    <a:pt x="122102" y="276430"/>
                  </a:moveTo>
                  <a:cubicBezTo>
                    <a:pt x="108568" y="276447"/>
                    <a:pt x="95333" y="272459"/>
                    <a:pt x="84073" y="264970"/>
                  </a:cubicBezTo>
                  <a:cubicBezTo>
                    <a:pt x="72812" y="257480"/>
                    <a:pt x="64032" y="246828"/>
                    <a:pt x="58843" y="234358"/>
                  </a:cubicBezTo>
                  <a:cubicBezTo>
                    <a:pt x="53654" y="221890"/>
                    <a:pt x="52289" y="208165"/>
                    <a:pt x="54922" y="194922"/>
                  </a:cubicBezTo>
                  <a:cubicBezTo>
                    <a:pt x="57555" y="181680"/>
                    <a:pt x="64067" y="169514"/>
                    <a:pt x="73634" y="159964"/>
                  </a:cubicBezTo>
                  <a:cubicBezTo>
                    <a:pt x="83201" y="150415"/>
                    <a:pt x="95392" y="143911"/>
                    <a:pt x="108665" y="141276"/>
                  </a:cubicBezTo>
                  <a:cubicBezTo>
                    <a:pt x="121939" y="138641"/>
                    <a:pt x="135697" y="139993"/>
                    <a:pt x="148200" y="145162"/>
                  </a:cubicBezTo>
                  <a:cubicBezTo>
                    <a:pt x="160703" y="150330"/>
                    <a:pt x="171388" y="159083"/>
                    <a:pt x="178902" y="170311"/>
                  </a:cubicBezTo>
                  <a:cubicBezTo>
                    <a:pt x="186417" y="181539"/>
                    <a:pt x="190423" y="194739"/>
                    <a:pt x="190415" y="208240"/>
                  </a:cubicBezTo>
                  <a:cubicBezTo>
                    <a:pt x="190403" y="226314"/>
                    <a:pt x="183203" y="243645"/>
                    <a:pt x="170396" y="256430"/>
                  </a:cubicBezTo>
                  <a:cubicBezTo>
                    <a:pt x="157589" y="269214"/>
                    <a:pt x="140220" y="276407"/>
                    <a:pt x="122102" y="276430"/>
                  </a:cubicBezTo>
                  <a:close/>
                  <a:moveTo>
                    <a:pt x="587634" y="90860"/>
                  </a:moveTo>
                  <a:cubicBezTo>
                    <a:pt x="571330" y="90860"/>
                    <a:pt x="562938" y="98495"/>
                    <a:pt x="560805" y="115455"/>
                  </a:cubicBezTo>
                  <a:cubicBezTo>
                    <a:pt x="541906" y="96907"/>
                    <a:pt x="516649" y="86209"/>
                    <a:pt x="490145" y="85525"/>
                  </a:cubicBezTo>
                  <a:cubicBezTo>
                    <a:pt x="424922" y="85525"/>
                    <a:pt x="367522" y="142740"/>
                    <a:pt x="367522" y="207936"/>
                  </a:cubicBezTo>
                  <a:cubicBezTo>
                    <a:pt x="367522" y="273133"/>
                    <a:pt x="424835" y="330348"/>
                    <a:pt x="490145" y="330348"/>
                  </a:cubicBezTo>
                  <a:cubicBezTo>
                    <a:pt x="519626" y="330348"/>
                    <a:pt x="542979" y="321326"/>
                    <a:pt x="557937" y="304322"/>
                  </a:cubicBezTo>
                  <a:cubicBezTo>
                    <a:pt x="556546" y="353642"/>
                    <a:pt x="532715" y="377631"/>
                    <a:pt x="485187" y="377631"/>
                  </a:cubicBezTo>
                  <a:cubicBezTo>
                    <a:pt x="481776" y="377397"/>
                    <a:pt x="478356" y="377900"/>
                    <a:pt x="475153" y="379097"/>
                  </a:cubicBezTo>
                  <a:cubicBezTo>
                    <a:pt x="471950" y="380297"/>
                    <a:pt x="469043" y="382162"/>
                    <a:pt x="466627" y="384576"/>
                  </a:cubicBezTo>
                  <a:cubicBezTo>
                    <a:pt x="464211" y="386986"/>
                    <a:pt x="462338" y="389887"/>
                    <a:pt x="461134" y="393081"/>
                  </a:cubicBezTo>
                  <a:cubicBezTo>
                    <a:pt x="459935" y="396276"/>
                    <a:pt x="459431" y="399688"/>
                    <a:pt x="459665" y="403091"/>
                  </a:cubicBezTo>
                  <a:cubicBezTo>
                    <a:pt x="459665" y="419317"/>
                    <a:pt x="469578" y="428598"/>
                    <a:pt x="486843" y="428598"/>
                  </a:cubicBezTo>
                  <a:cubicBezTo>
                    <a:pt x="577331" y="428598"/>
                    <a:pt x="609423" y="362879"/>
                    <a:pt x="609423" y="306577"/>
                  </a:cubicBezTo>
                  <a:lnTo>
                    <a:pt x="609423" y="113069"/>
                  </a:lnTo>
                  <a:cubicBezTo>
                    <a:pt x="609558" y="110161"/>
                    <a:pt x="609097" y="107254"/>
                    <a:pt x="608059" y="104532"/>
                  </a:cubicBezTo>
                  <a:cubicBezTo>
                    <a:pt x="607020" y="101810"/>
                    <a:pt x="605434" y="99329"/>
                    <a:pt x="603396" y="97246"/>
                  </a:cubicBezTo>
                  <a:cubicBezTo>
                    <a:pt x="601353" y="95162"/>
                    <a:pt x="598907" y="93520"/>
                    <a:pt x="596204" y="92421"/>
                  </a:cubicBezTo>
                  <a:cubicBezTo>
                    <a:pt x="593501" y="91323"/>
                    <a:pt x="590598" y="90791"/>
                    <a:pt x="587678" y="90860"/>
                  </a:cubicBezTo>
                  <a:lnTo>
                    <a:pt x="587634" y="90860"/>
                  </a:lnTo>
                  <a:close/>
                  <a:moveTo>
                    <a:pt x="489015" y="276430"/>
                  </a:moveTo>
                  <a:cubicBezTo>
                    <a:pt x="475483" y="276447"/>
                    <a:pt x="462247" y="272459"/>
                    <a:pt x="450987" y="264970"/>
                  </a:cubicBezTo>
                  <a:cubicBezTo>
                    <a:pt x="439728" y="257480"/>
                    <a:pt x="430945" y="246828"/>
                    <a:pt x="425757" y="234358"/>
                  </a:cubicBezTo>
                  <a:cubicBezTo>
                    <a:pt x="420568" y="221890"/>
                    <a:pt x="419204" y="208165"/>
                    <a:pt x="421837" y="194922"/>
                  </a:cubicBezTo>
                  <a:cubicBezTo>
                    <a:pt x="424470" y="181680"/>
                    <a:pt x="430980" y="169514"/>
                    <a:pt x="440549" y="159964"/>
                  </a:cubicBezTo>
                  <a:cubicBezTo>
                    <a:pt x="450114" y="150415"/>
                    <a:pt x="462308" y="143911"/>
                    <a:pt x="475579" y="141276"/>
                  </a:cubicBezTo>
                  <a:cubicBezTo>
                    <a:pt x="488855" y="138641"/>
                    <a:pt x="502613" y="139993"/>
                    <a:pt x="515115" y="145162"/>
                  </a:cubicBezTo>
                  <a:cubicBezTo>
                    <a:pt x="527617" y="150330"/>
                    <a:pt x="538303" y="159083"/>
                    <a:pt x="545817" y="170311"/>
                  </a:cubicBezTo>
                  <a:cubicBezTo>
                    <a:pt x="553330" y="181539"/>
                    <a:pt x="557337" y="194739"/>
                    <a:pt x="557328" y="208240"/>
                  </a:cubicBezTo>
                  <a:cubicBezTo>
                    <a:pt x="557315" y="226314"/>
                    <a:pt x="550119" y="243645"/>
                    <a:pt x="537308" y="256430"/>
                  </a:cubicBezTo>
                  <a:cubicBezTo>
                    <a:pt x="524502" y="269214"/>
                    <a:pt x="507132" y="276407"/>
                    <a:pt x="489015" y="276430"/>
                  </a:cubicBezTo>
                  <a:close/>
                  <a:moveTo>
                    <a:pt x="1626847" y="89125"/>
                  </a:moveTo>
                  <a:cubicBezTo>
                    <a:pt x="1623531" y="89054"/>
                    <a:pt x="1620233" y="89654"/>
                    <a:pt x="1617152" y="90889"/>
                  </a:cubicBezTo>
                  <a:cubicBezTo>
                    <a:pt x="1614075" y="92125"/>
                    <a:pt x="1611276" y="93969"/>
                    <a:pt x="1608930" y="96313"/>
                  </a:cubicBezTo>
                  <a:cubicBezTo>
                    <a:pt x="1606588" y="98656"/>
                    <a:pt x="1604741" y="101449"/>
                    <a:pt x="1603511" y="104523"/>
                  </a:cubicBezTo>
                  <a:cubicBezTo>
                    <a:pt x="1602277" y="107596"/>
                    <a:pt x="1601681" y="110887"/>
                    <a:pt x="1601760" y="114197"/>
                  </a:cubicBezTo>
                  <a:lnTo>
                    <a:pt x="1601147" y="300721"/>
                  </a:lnTo>
                  <a:cubicBezTo>
                    <a:pt x="1600964" y="304076"/>
                    <a:pt x="1601486" y="307433"/>
                    <a:pt x="1602677" y="310576"/>
                  </a:cubicBezTo>
                  <a:cubicBezTo>
                    <a:pt x="1603867" y="313719"/>
                    <a:pt x="1605701" y="316581"/>
                    <a:pt x="1608061" y="318977"/>
                  </a:cubicBezTo>
                  <a:cubicBezTo>
                    <a:pt x="1610420" y="321373"/>
                    <a:pt x="1613258" y="323252"/>
                    <a:pt x="1616387" y="324492"/>
                  </a:cubicBezTo>
                  <a:cubicBezTo>
                    <a:pt x="1619520" y="325734"/>
                    <a:pt x="1622875" y="326310"/>
                    <a:pt x="1626238" y="326184"/>
                  </a:cubicBezTo>
                  <a:cubicBezTo>
                    <a:pt x="1641978" y="326184"/>
                    <a:pt x="1651764" y="316424"/>
                    <a:pt x="1651764" y="300721"/>
                  </a:cubicBezTo>
                  <a:lnTo>
                    <a:pt x="1652373" y="114197"/>
                  </a:lnTo>
                  <a:cubicBezTo>
                    <a:pt x="1652547" y="110826"/>
                    <a:pt x="1652003" y="107456"/>
                    <a:pt x="1650773" y="104309"/>
                  </a:cubicBezTo>
                  <a:cubicBezTo>
                    <a:pt x="1649548" y="101162"/>
                    <a:pt x="1647666" y="98311"/>
                    <a:pt x="1645255" y="95942"/>
                  </a:cubicBezTo>
                  <a:cubicBezTo>
                    <a:pt x="1642843" y="93574"/>
                    <a:pt x="1639957" y="91741"/>
                    <a:pt x="1636785" y="90566"/>
                  </a:cubicBezTo>
                  <a:cubicBezTo>
                    <a:pt x="1633613" y="89391"/>
                    <a:pt x="1630223" y="88900"/>
                    <a:pt x="1626847" y="89125"/>
                  </a:cubicBezTo>
                  <a:close/>
                  <a:moveTo>
                    <a:pt x="307559" y="88040"/>
                  </a:moveTo>
                  <a:cubicBezTo>
                    <a:pt x="304239" y="87970"/>
                    <a:pt x="300938" y="88570"/>
                    <a:pt x="297857" y="89804"/>
                  </a:cubicBezTo>
                  <a:cubicBezTo>
                    <a:pt x="294776" y="91039"/>
                    <a:pt x="291977" y="92883"/>
                    <a:pt x="289628" y="95226"/>
                  </a:cubicBezTo>
                  <a:cubicBezTo>
                    <a:pt x="287280" y="97568"/>
                    <a:pt x="285432" y="100361"/>
                    <a:pt x="284194" y="103435"/>
                  </a:cubicBezTo>
                  <a:cubicBezTo>
                    <a:pt x="282956" y="106509"/>
                    <a:pt x="282354" y="109801"/>
                    <a:pt x="282425" y="113113"/>
                  </a:cubicBezTo>
                  <a:lnTo>
                    <a:pt x="282425" y="299941"/>
                  </a:lnTo>
                  <a:cubicBezTo>
                    <a:pt x="282241" y="303299"/>
                    <a:pt x="282762" y="306659"/>
                    <a:pt x="283955" y="309806"/>
                  </a:cubicBezTo>
                  <a:cubicBezTo>
                    <a:pt x="285147" y="312952"/>
                    <a:pt x="286986" y="315816"/>
                    <a:pt x="289351" y="318213"/>
                  </a:cubicBezTo>
                  <a:cubicBezTo>
                    <a:pt x="291717" y="320610"/>
                    <a:pt x="294559" y="322487"/>
                    <a:pt x="297694" y="323726"/>
                  </a:cubicBezTo>
                  <a:cubicBezTo>
                    <a:pt x="300829" y="324964"/>
                    <a:pt x="304189" y="325535"/>
                    <a:pt x="307559" y="325403"/>
                  </a:cubicBezTo>
                  <a:cubicBezTo>
                    <a:pt x="323300" y="325403"/>
                    <a:pt x="333040" y="315643"/>
                    <a:pt x="333040" y="299941"/>
                  </a:cubicBezTo>
                  <a:lnTo>
                    <a:pt x="333040" y="113113"/>
                  </a:lnTo>
                  <a:cubicBezTo>
                    <a:pt x="333213" y="109745"/>
                    <a:pt x="332670" y="106379"/>
                    <a:pt x="331445" y="103235"/>
                  </a:cubicBezTo>
                  <a:cubicBezTo>
                    <a:pt x="330221" y="100092"/>
                    <a:pt x="328344" y="97243"/>
                    <a:pt x="325937" y="94875"/>
                  </a:cubicBezTo>
                  <a:cubicBezTo>
                    <a:pt x="323530" y="92507"/>
                    <a:pt x="320649" y="90674"/>
                    <a:pt x="317481" y="89496"/>
                  </a:cubicBezTo>
                  <a:cubicBezTo>
                    <a:pt x="314314" y="88318"/>
                    <a:pt x="310932" y="87822"/>
                    <a:pt x="307559" y="88040"/>
                  </a:cubicBezTo>
                  <a:close/>
                  <a:moveTo>
                    <a:pt x="679474" y="88691"/>
                  </a:moveTo>
                  <a:cubicBezTo>
                    <a:pt x="676154" y="88620"/>
                    <a:pt x="672856" y="89220"/>
                    <a:pt x="669779" y="90455"/>
                  </a:cubicBezTo>
                  <a:cubicBezTo>
                    <a:pt x="666698" y="91691"/>
                    <a:pt x="663904" y="93536"/>
                    <a:pt x="661557" y="95879"/>
                  </a:cubicBezTo>
                  <a:cubicBezTo>
                    <a:pt x="659210" y="98222"/>
                    <a:pt x="657368" y="101015"/>
                    <a:pt x="656134" y="104089"/>
                  </a:cubicBezTo>
                  <a:cubicBezTo>
                    <a:pt x="654904" y="107163"/>
                    <a:pt x="654304" y="110454"/>
                    <a:pt x="654382" y="113763"/>
                  </a:cubicBezTo>
                  <a:lnTo>
                    <a:pt x="654382" y="299941"/>
                  </a:lnTo>
                  <a:cubicBezTo>
                    <a:pt x="654200" y="303296"/>
                    <a:pt x="654717" y="306652"/>
                    <a:pt x="655908" y="309795"/>
                  </a:cubicBezTo>
                  <a:cubicBezTo>
                    <a:pt x="657098" y="312939"/>
                    <a:pt x="658932" y="315800"/>
                    <a:pt x="661296" y="318196"/>
                  </a:cubicBezTo>
                  <a:cubicBezTo>
                    <a:pt x="663656" y="320592"/>
                    <a:pt x="666494" y="322471"/>
                    <a:pt x="669622" y="323712"/>
                  </a:cubicBezTo>
                  <a:cubicBezTo>
                    <a:pt x="672751" y="324953"/>
                    <a:pt x="676106" y="325529"/>
                    <a:pt x="679474" y="325403"/>
                  </a:cubicBezTo>
                  <a:cubicBezTo>
                    <a:pt x="695214" y="325403"/>
                    <a:pt x="705000" y="315643"/>
                    <a:pt x="705000" y="299941"/>
                  </a:cubicBezTo>
                  <a:lnTo>
                    <a:pt x="705000" y="113763"/>
                  </a:lnTo>
                  <a:cubicBezTo>
                    <a:pt x="705191" y="110381"/>
                    <a:pt x="704661" y="106997"/>
                    <a:pt x="703440" y="103835"/>
                  </a:cubicBezTo>
                  <a:cubicBezTo>
                    <a:pt x="702223" y="100672"/>
                    <a:pt x="700346" y="97805"/>
                    <a:pt x="697930" y="95421"/>
                  </a:cubicBezTo>
                  <a:cubicBezTo>
                    <a:pt x="695518" y="93038"/>
                    <a:pt x="692624" y="91194"/>
                    <a:pt x="689443" y="90012"/>
                  </a:cubicBezTo>
                  <a:cubicBezTo>
                    <a:pt x="686257" y="88828"/>
                    <a:pt x="682863" y="88334"/>
                    <a:pt x="679474" y="88561"/>
                  </a:cubicBezTo>
                  <a:lnTo>
                    <a:pt x="679474" y="88691"/>
                  </a:lnTo>
                  <a:close/>
                  <a:moveTo>
                    <a:pt x="836319" y="275996"/>
                  </a:moveTo>
                  <a:cubicBezTo>
                    <a:pt x="819706" y="274608"/>
                    <a:pt x="809446" y="269923"/>
                    <a:pt x="809446" y="250924"/>
                  </a:cubicBezTo>
                  <a:lnTo>
                    <a:pt x="809446" y="143434"/>
                  </a:lnTo>
                  <a:lnTo>
                    <a:pt x="822492" y="143434"/>
                  </a:lnTo>
                  <a:cubicBezTo>
                    <a:pt x="825820" y="143548"/>
                    <a:pt x="829136" y="142980"/>
                    <a:pt x="832234" y="141763"/>
                  </a:cubicBezTo>
                  <a:cubicBezTo>
                    <a:pt x="835333" y="140546"/>
                    <a:pt x="838144" y="138708"/>
                    <a:pt x="840504" y="136361"/>
                  </a:cubicBezTo>
                  <a:cubicBezTo>
                    <a:pt x="842859" y="134014"/>
                    <a:pt x="844706" y="131209"/>
                    <a:pt x="845932" y="128121"/>
                  </a:cubicBezTo>
                  <a:cubicBezTo>
                    <a:pt x="847157" y="125032"/>
                    <a:pt x="847735" y="121725"/>
                    <a:pt x="847622" y="118405"/>
                  </a:cubicBezTo>
                  <a:cubicBezTo>
                    <a:pt x="847622" y="102919"/>
                    <a:pt x="837753" y="92899"/>
                    <a:pt x="822492" y="92899"/>
                  </a:cubicBezTo>
                  <a:lnTo>
                    <a:pt x="809446" y="92899"/>
                  </a:lnTo>
                  <a:lnTo>
                    <a:pt x="809446" y="25577"/>
                  </a:lnTo>
                  <a:cubicBezTo>
                    <a:pt x="809446" y="9874"/>
                    <a:pt x="799660" y="114"/>
                    <a:pt x="783920" y="114"/>
                  </a:cubicBezTo>
                  <a:cubicBezTo>
                    <a:pt x="780557" y="-12"/>
                    <a:pt x="777197" y="565"/>
                    <a:pt x="774069" y="1805"/>
                  </a:cubicBezTo>
                  <a:cubicBezTo>
                    <a:pt x="770940" y="3046"/>
                    <a:pt x="768102" y="4925"/>
                    <a:pt x="765742" y="7321"/>
                  </a:cubicBezTo>
                  <a:cubicBezTo>
                    <a:pt x="763383" y="9717"/>
                    <a:pt x="761545" y="12579"/>
                    <a:pt x="760358" y="15722"/>
                  </a:cubicBezTo>
                  <a:cubicBezTo>
                    <a:pt x="759168" y="18865"/>
                    <a:pt x="758646" y="22222"/>
                    <a:pt x="758829" y="25577"/>
                  </a:cubicBezTo>
                  <a:lnTo>
                    <a:pt x="758829" y="93506"/>
                  </a:lnTo>
                  <a:cubicBezTo>
                    <a:pt x="746613" y="95371"/>
                    <a:pt x="739091" y="104784"/>
                    <a:pt x="739091" y="118405"/>
                  </a:cubicBezTo>
                  <a:cubicBezTo>
                    <a:pt x="738822" y="124221"/>
                    <a:pt x="740677" y="129937"/>
                    <a:pt x="744306" y="134497"/>
                  </a:cubicBezTo>
                  <a:cubicBezTo>
                    <a:pt x="747934" y="139058"/>
                    <a:pt x="753092" y="142155"/>
                    <a:pt x="758829" y="143217"/>
                  </a:cubicBezTo>
                  <a:lnTo>
                    <a:pt x="758829" y="251444"/>
                  </a:lnTo>
                  <a:cubicBezTo>
                    <a:pt x="758829" y="298466"/>
                    <a:pt x="784181" y="325186"/>
                    <a:pt x="828406" y="325186"/>
                  </a:cubicBezTo>
                  <a:cubicBezTo>
                    <a:pt x="846709" y="325186"/>
                    <a:pt x="857626" y="316511"/>
                    <a:pt x="857626" y="301762"/>
                  </a:cubicBezTo>
                  <a:cubicBezTo>
                    <a:pt x="857626" y="287014"/>
                    <a:pt x="849886" y="277211"/>
                    <a:pt x="836363" y="275736"/>
                  </a:cubicBezTo>
                  <a:lnTo>
                    <a:pt x="836319" y="275996"/>
                  </a:lnTo>
                  <a:close/>
                  <a:moveTo>
                    <a:pt x="1181837" y="71"/>
                  </a:moveTo>
                  <a:cubicBezTo>
                    <a:pt x="1178499" y="-77"/>
                    <a:pt x="1175166" y="470"/>
                    <a:pt x="1172055" y="1678"/>
                  </a:cubicBezTo>
                  <a:cubicBezTo>
                    <a:pt x="1168939" y="2886"/>
                    <a:pt x="1166110" y="4728"/>
                    <a:pt x="1163750" y="7087"/>
                  </a:cubicBezTo>
                  <a:cubicBezTo>
                    <a:pt x="1161391" y="9447"/>
                    <a:pt x="1159548" y="12270"/>
                    <a:pt x="1158340" y="15379"/>
                  </a:cubicBezTo>
                  <a:cubicBezTo>
                    <a:pt x="1157136" y="18488"/>
                    <a:pt x="1156593" y="21813"/>
                    <a:pt x="1156750" y="25143"/>
                  </a:cubicBezTo>
                  <a:lnTo>
                    <a:pt x="1156750" y="299941"/>
                  </a:lnTo>
                  <a:cubicBezTo>
                    <a:pt x="1156563" y="303296"/>
                    <a:pt x="1157084" y="306652"/>
                    <a:pt x="1158275" y="309795"/>
                  </a:cubicBezTo>
                  <a:cubicBezTo>
                    <a:pt x="1159466" y="312939"/>
                    <a:pt x="1161300" y="315800"/>
                    <a:pt x="1163659" y="318196"/>
                  </a:cubicBezTo>
                  <a:cubicBezTo>
                    <a:pt x="1166019" y="320592"/>
                    <a:pt x="1168857" y="322471"/>
                    <a:pt x="1171985" y="323712"/>
                  </a:cubicBezTo>
                  <a:cubicBezTo>
                    <a:pt x="1175119" y="324953"/>
                    <a:pt x="1178473" y="325529"/>
                    <a:pt x="1181837" y="325403"/>
                  </a:cubicBezTo>
                  <a:cubicBezTo>
                    <a:pt x="1197581" y="325403"/>
                    <a:pt x="1207363" y="315643"/>
                    <a:pt x="1207363" y="299941"/>
                  </a:cubicBezTo>
                  <a:lnTo>
                    <a:pt x="1207363" y="25143"/>
                  </a:lnTo>
                  <a:cubicBezTo>
                    <a:pt x="1207363" y="9701"/>
                    <a:pt x="1197581" y="71"/>
                    <a:pt x="1181837" y="71"/>
                  </a:cubicBezTo>
                  <a:close/>
                  <a:moveTo>
                    <a:pt x="1329682" y="251184"/>
                  </a:moveTo>
                  <a:cubicBezTo>
                    <a:pt x="1328826" y="249901"/>
                    <a:pt x="1327896" y="248670"/>
                    <a:pt x="1326897" y="247497"/>
                  </a:cubicBezTo>
                  <a:cubicBezTo>
                    <a:pt x="1324576" y="244716"/>
                    <a:pt x="1321952" y="242199"/>
                    <a:pt x="1319070" y="239993"/>
                  </a:cubicBezTo>
                  <a:cubicBezTo>
                    <a:pt x="1318071" y="239255"/>
                    <a:pt x="1317028" y="238518"/>
                    <a:pt x="1315942" y="237824"/>
                  </a:cubicBezTo>
                  <a:cubicBezTo>
                    <a:pt x="1310592" y="234319"/>
                    <a:pt x="1304587" y="231929"/>
                    <a:pt x="1298286" y="230797"/>
                  </a:cubicBezTo>
                  <a:cubicBezTo>
                    <a:pt x="1295626" y="230359"/>
                    <a:pt x="1292936" y="230142"/>
                    <a:pt x="1290242" y="230146"/>
                  </a:cubicBezTo>
                  <a:cubicBezTo>
                    <a:pt x="1282198" y="230133"/>
                    <a:pt x="1274280" y="232163"/>
                    <a:pt x="1267241" y="236045"/>
                  </a:cubicBezTo>
                  <a:cubicBezTo>
                    <a:pt x="1265885" y="236757"/>
                    <a:pt x="1264577" y="237554"/>
                    <a:pt x="1263325" y="238431"/>
                  </a:cubicBezTo>
                  <a:cubicBezTo>
                    <a:pt x="1256833" y="242799"/>
                    <a:pt x="1251514" y="248691"/>
                    <a:pt x="1247838" y="255588"/>
                  </a:cubicBezTo>
                  <a:cubicBezTo>
                    <a:pt x="1244161" y="262486"/>
                    <a:pt x="1242236" y="270179"/>
                    <a:pt x="1242236" y="277992"/>
                  </a:cubicBezTo>
                  <a:cubicBezTo>
                    <a:pt x="1242236" y="285804"/>
                    <a:pt x="1244161" y="293497"/>
                    <a:pt x="1247838" y="300395"/>
                  </a:cubicBezTo>
                  <a:cubicBezTo>
                    <a:pt x="1251514" y="307292"/>
                    <a:pt x="1256833" y="313184"/>
                    <a:pt x="1263325" y="317552"/>
                  </a:cubicBezTo>
                  <a:cubicBezTo>
                    <a:pt x="1264590" y="318413"/>
                    <a:pt x="1265894" y="319210"/>
                    <a:pt x="1267241" y="319938"/>
                  </a:cubicBezTo>
                  <a:cubicBezTo>
                    <a:pt x="1275610" y="324459"/>
                    <a:pt x="1285140" y="326388"/>
                    <a:pt x="1294614" y="325476"/>
                  </a:cubicBezTo>
                  <a:cubicBezTo>
                    <a:pt x="1304087" y="324564"/>
                    <a:pt x="1313074" y="320854"/>
                    <a:pt x="1320418" y="314819"/>
                  </a:cubicBezTo>
                  <a:cubicBezTo>
                    <a:pt x="1322790" y="312872"/>
                    <a:pt x="1324963" y="310692"/>
                    <a:pt x="1326897" y="308312"/>
                  </a:cubicBezTo>
                  <a:cubicBezTo>
                    <a:pt x="1327888" y="307146"/>
                    <a:pt x="1328818" y="305930"/>
                    <a:pt x="1329682" y="304669"/>
                  </a:cubicBezTo>
                  <a:cubicBezTo>
                    <a:pt x="1331377" y="302103"/>
                    <a:pt x="1332833" y="299387"/>
                    <a:pt x="1334028" y="296557"/>
                  </a:cubicBezTo>
                  <a:cubicBezTo>
                    <a:pt x="1337135" y="289250"/>
                    <a:pt x="1338361" y="281286"/>
                    <a:pt x="1337604" y="273386"/>
                  </a:cubicBezTo>
                  <a:cubicBezTo>
                    <a:pt x="1336844" y="265486"/>
                    <a:pt x="1334119" y="257900"/>
                    <a:pt x="1329682" y="251314"/>
                  </a:cubicBezTo>
                </a:path>
              </a:pathLst>
            </a:custGeom>
            <a:grpFill/>
            <a:ln w="4341"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75B83A26-8F5F-474E-8533-A14B70C47FF6}"/>
                </a:ext>
              </a:extLst>
            </p:cNvPr>
            <p:cNvSpPr/>
            <p:nvPr/>
          </p:nvSpPr>
          <p:spPr>
            <a:xfrm>
              <a:off x="9413207" y="4268016"/>
              <a:ext cx="1408602" cy="94482"/>
            </a:xfrm>
            <a:custGeom>
              <a:avLst/>
              <a:gdLst>
                <a:gd name="connsiteX0" fmla="*/ 956896 w 1408602"/>
                <a:gd name="connsiteY0" fmla="*/ 36021 h 94482"/>
                <a:gd name="connsiteX1" fmla="*/ 958117 w 1408602"/>
                <a:gd name="connsiteY1" fmla="*/ 46561 h 94482"/>
                <a:gd name="connsiteX2" fmla="*/ 957639 w 1408602"/>
                <a:gd name="connsiteY2" fmla="*/ 52678 h 94482"/>
                <a:gd name="connsiteX3" fmla="*/ 956548 w 1408602"/>
                <a:gd name="connsiteY3" fmla="*/ 58404 h 94482"/>
                <a:gd name="connsiteX4" fmla="*/ 952202 w 1408602"/>
                <a:gd name="connsiteY4" fmla="*/ 68944 h 94482"/>
                <a:gd name="connsiteX5" fmla="*/ 929940 w 1408602"/>
                <a:gd name="connsiteY5" fmla="*/ 89388 h 94482"/>
                <a:gd name="connsiteX6" fmla="*/ 899782 w 1408602"/>
                <a:gd name="connsiteY6" fmla="*/ 91869 h 94482"/>
                <a:gd name="connsiteX7" fmla="*/ 874460 w 1408602"/>
                <a:gd name="connsiteY7" fmla="*/ 75340 h 94482"/>
                <a:gd name="connsiteX8" fmla="*/ 864669 w 1408602"/>
                <a:gd name="connsiteY8" fmla="*/ 46778 h 94482"/>
                <a:gd name="connsiteX9" fmla="*/ 865625 w 1408602"/>
                <a:gd name="connsiteY9" fmla="*/ 37409 h 94482"/>
                <a:gd name="connsiteX10" fmla="*/ 875220 w 1408602"/>
                <a:gd name="connsiteY10" fmla="*/ 17278 h 94482"/>
                <a:gd name="connsiteX11" fmla="*/ 893107 w 1408602"/>
                <a:gd name="connsiteY11" fmla="*/ 3921 h 94482"/>
                <a:gd name="connsiteX12" fmla="*/ 911241 w 1408602"/>
                <a:gd name="connsiteY12" fmla="*/ 233 h 94482"/>
                <a:gd name="connsiteX13" fmla="*/ 929371 w 1408602"/>
                <a:gd name="connsiteY13" fmla="*/ 3921 h 94482"/>
                <a:gd name="connsiteX14" fmla="*/ 953289 w 1408602"/>
                <a:gd name="connsiteY14" fmla="*/ 26348 h 94482"/>
                <a:gd name="connsiteX15" fmla="*/ 956765 w 1408602"/>
                <a:gd name="connsiteY15" fmla="*/ 36021 h 94482"/>
                <a:gd name="connsiteX16" fmla="*/ 956896 w 1408602"/>
                <a:gd name="connsiteY16" fmla="*/ 36021 h 94482"/>
                <a:gd name="connsiteX17" fmla="*/ 46701 w 1408602"/>
                <a:gd name="connsiteY17" fmla="*/ 17 h 94482"/>
                <a:gd name="connsiteX18" fmla="*/ 20768 w 1408602"/>
                <a:gd name="connsiteY18" fmla="*/ 7840 h 94482"/>
                <a:gd name="connsiteX19" fmla="*/ 3564 w 1408602"/>
                <a:gd name="connsiteY19" fmla="*/ 28720 h 94482"/>
                <a:gd name="connsiteX20" fmla="*/ 891 w 1408602"/>
                <a:gd name="connsiteY20" fmla="*/ 55615 h 94482"/>
                <a:gd name="connsiteX21" fmla="*/ 13651 w 1408602"/>
                <a:gd name="connsiteY21" fmla="*/ 79458 h 94482"/>
                <a:gd name="connsiteX22" fmla="*/ 37539 w 1408602"/>
                <a:gd name="connsiteY22" fmla="*/ 92208 h 94482"/>
                <a:gd name="connsiteX23" fmla="*/ 64503 w 1408602"/>
                <a:gd name="connsiteY23" fmla="*/ 89567 h 94482"/>
                <a:gd name="connsiteX24" fmla="*/ 85449 w 1408602"/>
                <a:gd name="connsiteY24" fmla="*/ 72425 h 94482"/>
                <a:gd name="connsiteX25" fmla="*/ 93316 w 1408602"/>
                <a:gd name="connsiteY25" fmla="*/ 46561 h 94482"/>
                <a:gd name="connsiteX26" fmla="*/ 89791 w 1408602"/>
                <a:gd name="connsiteY26" fmla="*/ 28746 h 94482"/>
                <a:gd name="connsiteX27" fmla="*/ 79691 w 1408602"/>
                <a:gd name="connsiteY27" fmla="*/ 13640 h 94482"/>
                <a:gd name="connsiteX28" fmla="*/ 64557 w 1408602"/>
                <a:gd name="connsiteY28" fmla="*/ 3549 h 94482"/>
                <a:gd name="connsiteX29" fmla="*/ 46701 w 1408602"/>
                <a:gd name="connsiteY29" fmla="*/ 17 h 94482"/>
                <a:gd name="connsiteX30" fmla="*/ 1380165 w 1408602"/>
                <a:gd name="connsiteY30" fmla="*/ 3661 h 94482"/>
                <a:gd name="connsiteX31" fmla="*/ 1375819 w 1408602"/>
                <a:gd name="connsiteY31" fmla="*/ 2099 h 94482"/>
                <a:gd name="connsiteX32" fmla="*/ 1369035 w 1408602"/>
                <a:gd name="connsiteY32" fmla="*/ 581 h 94482"/>
                <a:gd name="connsiteX33" fmla="*/ 1361948 w 1408602"/>
                <a:gd name="connsiteY33" fmla="*/ 17 h 94482"/>
                <a:gd name="connsiteX34" fmla="*/ 1348077 w 1408602"/>
                <a:gd name="connsiteY34" fmla="*/ 2099 h 94482"/>
                <a:gd name="connsiteX35" fmla="*/ 1343727 w 1408602"/>
                <a:gd name="connsiteY35" fmla="*/ 3661 h 94482"/>
                <a:gd name="connsiteX36" fmla="*/ 1325845 w 1408602"/>
                <a:gd name="connsiteY36" fmla="*/ 17035 h 94482"/>
                <a:gd name="connsiteX37" fmla="*/ 1316202 w 1408602"/>
                <a:gd name="connsiteY37" fmla="*/ 37148 h 94482"/>
                <a:gd name="connsiteX38" fmla="*/ 1315289 w 1408602"/>
                <a:gd name="connsiteY38" fmla="*/ 46561 h 94482"/>
                <a:gd name="connsiteX39" fmla="*/ 1328900 w 1408602"/>
                <a:gd name="connsiteY39" fmla="*/ 79442 h 94482"/>
                <a:gd name="connsiteX40" fmla="*/ 1335944 w 1408602"/>
                <a:gd name="connsiteY40" fmla="*/ 85124 h 94482"/>
                <a:gd name="connsiteX41" fmla="*/ 1348120 w 1408602"/>
                <a:gd name="connsiteY41" fmla="*/ 90980 h 94482"/>
                <a:gd name="connsiteX42" fmla="*/ 1369079 w 1408602"/>
                <a:gd name="connsiteY42" fmla="*/ 92542 h 94482"/>
                <a:gd name="connsiteX43" fmla="*/ 1375862 w 1408602"/>
                <a:gd name="connsiteY43" fmla="*/ 90980 h 94482"/>
                <a:gd name="connsiteX44" fmla="*/ 1388034 w 1408602"/>
                <a:gd name="connsiteY44" fmla="*/ 85124 h 94482"/>
                <a:gd name="connsiteX45" fmla="*/ 1394948 w 1408602"/>
                <a:gd name="connsiteY45" fmla="*/ 79442 h 94482"/>
                <a:gd name="connsiteX46" fmla="*/ 1405065 w 1408602"/>
                <a:gd name="connsiteY46" fmla="*/ 64361 h 94482"/>
                <a:gd name="connsiteX47" fmla="*/ 1408602 w 1408602"/>
                <a:gd name="connsiteY47" fmla="*/ 46561 h 94482"/>
                <a:gd name="connsiteX48" fmla="*/ 1407646 w 1408602"/>
                <a:gd name="connsiteY48" fmla="*/ 37148 h 94482"/>
                <a:gd name="connsiteX49" fmla="*/ 1398012 w 1408602"/>
                <a:gd name="connsiteY49" fmla="*/ 17027 h 94482"/>
                <a:gd name="connsiteX50" fmla="*/ 1380121 w 1408602"/>
                <a:gd name="connsiteY50" fmla="*/ 3661 h 94482"/>
                <a:gd name="connsiteX51" fmla="*/ 1380165 w 1408602"/>
                <a:gd name="connsiteY51" fmla="*/ 3661 h 94482"/>
                <a:gd name="connsiteX52" fmla="*/ 431705 w 1408602"/>
                <a:gd name="connsiteY52" fmla="*/ 3661 h 94482"/>
                <a:gd name="connsiteX53" fmla="*/ 411603 w 1408602"/>
                <a:gd name="connsiteY53" fmla="*/ 42 h 94482"/>
                <a:gd name="connsiteX54" fmla="*/ 391882 w 1408602"/>
                <a:gd name="connsiteY54" fmla="*/ 5352 h 94482"/>
                <a:gd name="connsiteX55" fmla="*/ 376338 w 1408602"/>
                <a:gd name="connsiteY55" fmla="*/ 18568 h 94482"/>
                <a:gd name="connsiteX56" fmla="*/ 367956 w 1408602"/>
                <a:gd name="connsiteY56" fmla="*/ 37148 h 94482"/>
                <a:gd name="connsiteX57" fmla="*/ 367000 w 1408602"/>
                <a:gd name="connsiteY57" fmla="*/ 46561 h 94482"/>
                <a:gd name="connsiteX58" fmla="*/ 370128 w 1408602"/>
                <a:gd name="connsiteY58" fmla="*/ 64788 h 94482"/>
                <a:gd name="connsiteX59" fmla="*/ 380132 w 1408602"/>
                <a:gd name="connsiteY59" fmla="*/ 80357 h 94482"/>
                <a:gd name="connsiteX60" fmla="*/ 395428 w 1408602"/>
                <a:gd name="connsiteY60" fmla="*/ 90805 h 94482"/>
                <a:gd name="connsiteX61" fmla="*/ 413593 w 1408602"/>
                <a:gd name="connsiteY61" fmla="*/ 94482 h 94482"/>
                <a:gd name="connsiteX62" fmla="*/ 431762 w 1408602"/>
                <a:gd name="connsiteY62" fmla="*/ 90805 h 94482"/>
                <a:gd name="connsiteX63" fmla="*/ 447054 w 1408602"/>
                <a:gd name="connsiteY63" fmla="*/ 80357 h 94482"/>
                <a:gd name="connsiteX64" fmla="*/ 457057 w 1408602"/>
                <a:gd name="connsiteY64" fmla="*/ 64788 h 94482"/>
                <a:gd name="connsiteX65" fmla="*/ 460186 w 1408602"/>
                <a:gd name="connsiteY65" fmla="*/ 46561 h 94482"/>
                <a:gd name="connsiteX66" fmla="*/ 459230 w 1408602"/>
                <a:gd name="connsiteY66" fmla="*/ 37148 h 94482"/>
                <a:gd name="connsiteX67" fmla="*/ 449609 w 1408602"/>
                <a:gd name="connsiteY67" fmla="*/ 17017 h 94482"/>
                <a:gd name="connsiteX68" fmla="*/ 431705 w 1408602"/>
                <a:gd name="connsiteY68" fmla="*/ 3661 h 94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408602" h="94482">
                  <a:moveTo>
                    <a:pt x="956896" y="36021"/>
                  </a:moveTo>
                  <a:cubicBezTo>
                    <a:pt x="957704" y="39477"/>
                    <a:pt x="958112" y="43013"/>
                    <a:pt x="958117" y="46561"/>
                  </a:cubicBezTo>
                  <a:cubicBezTo>
                    <a:pt x="958099" y="48609"/>
                    <a:pt x="957939" y="50653"/>
                    <a:pt x="957639" y="52678"/>
                  </a:cubicBezTo>
                  <a:cubicBezTo>
                    <a:pt x="957408" y="54609"/>
                    <a:pt x="957048" y="56522"/>
                    <a:pt x="956548" y="58404"/>
                  </a:cubicBezTo>
                  <a:cubicBezTo>
                    <a:pt x="955553" y="62086"/>
                    <a:pt x="954093" y="65628"/>
                    <a:pt x="952202" y="68944"/>
                  </a:cubicBezTo>
                  <a:cubicBezTo>
                    <a:pt x="947270" y="78041"/>
                    <a:pt x="939435" y="85236"/>
                    <a:pt x="929940" y="89388"/>
                  </a:cubicBezTo>
                  <a:cubicBezTo>
                    <a:pt x="920445" y="93541"/>
                    <a:pt x="909829" y="94414"/>
                    <a:pt x="899782" y="91869"/>
                  </a:cubicBezTo>
                  <a:cubicBezTo>
                    <a:pt x="889735" y="89325"/>
                    <a:pt x="880822" y="83507"/>
                    <a:pt x="874460" y="75340"/>
                  </a:cubicBezTo>
                  <a:cubicBezTo>
                    <a:pt x="868102" y="67172"/>
                    <a:pt x="864656" y="57121"/>
                    <a:pt x="864669" y="46778"/>
                  </a:cubicBezTo>
                  <a:cubicBezTo>
                    <a:pt x="864652" y="43630"/>
                    <a:pt x="864973" y="40489"/>
                    <a:pt x="865625" y="37409"/>
                  </a:cubicBezTo>
                  <a:cubicBezTo>
                    <a:pt x="867138" y="30021"/>
                    <a:pt x="870431" y="23112"/>
                    <a:pt x="875220" y="17278"/>
                  </a:cubicBezTo>
                  <a:cubicBezTo>
                    <a:pt x="880005" y="11444"/>
                    <a:pt x="886145" y="6859"/>
                    <a:pt x="893107" y="3921"/>
                  </a:cubicBezTo>
                  <a:cubicBezTo>
                    <a:pt x="898843" y="1487"/>
                    <a:pt x="905009" y="233"/>
                    <a:pt x="911241" y="233"/>
                  </a:cubicBezTo>
                  <a:cubicBezTo>
                    <a:pt x="917472" y="233"/>
                    <a:pt x="923639" y="1487"/>
                    <a:pt x="929371" y="3921"/>
                  </a:cubicBezTo>
                  <a:cubicBezTo>
                    <a:pt x="939809" y="8254"/>
                    <a:pt x="948309" y="16225"/>
                    <a:pt x="953289" y="26348"/>
                  </a:cubicBezTo>
                  <a:cubicBezTo>
                    <a:pt x="954788" y="29439"/>
                    <a:pt x="955957" y="32682"/>
                    <a:pt x="956765" y="36021"/>
                  </a:cubicBezTo>
                  <a:lnTo>
                    <a:pt x="956896" y="36021"/>
                  </a:lnTo>
                  <a:close/>
                  <a:moveTo>
                    <a:pt x="46701" y="17"/>
                  </a:moveTo>
                  <a:cubicBezTo>
                    <a:pt x="37471" y="9"/>
                    <a:pt x="28447" y="2731"/>
                    <a:pt x="20768" y="7840"/>
                  </a:cubicBezTo>
                  <a:cubicBezTo>
                    <a:pt x="13089" y="12949"/>
                    <a:pt x="7102" y="20216"/>
                    <a:pt x="3564" y="28720"/>
                  </a:cubicBezTo>
                  <a:cubicBezTo>
                    <a:pt x="26" y="37224"/>
                    <a:pt x="-904" y="46584"/>
                    <a:pt x="891" y="55615"/>
                  </a:cubicBezTo>
                  <a:cubicBezTo>
                    <a:pt x="2687" y="64647"/>
                    <a:pt x="7127" y="72944"/>
                    <a:pt x="13651" y="79458"/>
                  </a:cubicBezTo>
                  <a:cubicBezTo>
                    <a:pt x="20174" y="85971"/>
                    <a:pt x="28487" y="90409"/>
                    <a:pt x="37539" y="92208"/>
                  </a:cubicBezTo>
                  <a:cubicBezTo>
                    <a:pt x="46592" y="94008"/>
                    <a:pt x="55975" y="93088"/>
                    <a:pt x="64503" y="89567"/>
                  </a:cubicBezTo>
                  <a:cubicBezTo>
                    <a:pt x="73031" y="86045"/>
                    <a:pt x="80321" y="80080"/>
                    <a:pt x="85449" y="72425"/>
                  </a:cubicBezTo>
                  <a:cubicBezTo>
                    <a:pt x="90578" y="64769"/>
                    <a:pt x="93316" y="55769"/>
                    <a:pt x="93316" y="46561"/>
                  </a:cubicBezTo>
                  <a:cubicBezTo>
                    <a:pt x="93327" y="40450"/>
                    <a:pt x="92129" y="34396"/>
                    <a:pt x="89791" y="28746"/>
                  </a:cubicBezTo>
                  <a:cubicBezTo>
                    <a:pt x="87454" y="23097"/>
                    <a:pt x="84021" y="17963"/>
                    <a:pt x="79691" y="13640"/>
                  </a:cubicBezTo>
                  <a:cubicBezTo>
                    <a:pt x="75361" y="9316"/>
                    <a:pt x="70218" y="5887"/>
                    <a:pt x="64557" y="3549"/>
                  </a:cubicBezTo>
                  <a:cubicBezTo>
                    <a:pt x="58896" y="1212"/>
                    <a:pt x="52828" y="12"/>
                    <a:pt x="46701" y="17"/>
                  </a:cubicBezTo>
                  <a:close/>
                  <a:moveTo>
                    <a:pt x="1380165" y="3661"/>
                  </a:moveTo>
                  <a:cubicBezTo>
                    <a:pt x="1378774" y="3097"/>
                    <a:pt x="1377340" y="2577"/>
                    <a:pt x="1375819" y="2099"/>
                  </a:cubicBezTo>
                  <a:cubicBezTo>
                    <a:pt x="1373594" y="1435"/>
                    <a:pt x="1371330" y="928"/>
                    <a:pt x="1369035" y="581"/>
                  </a:cubicBezTo>
                  <a:cubicBezTo>
                    <a:pt x="1366693" y="194"/>
                    <a:pt x="1364321" y="6"/>
                    <a:pt x="1361948" y="17"/>
                  </a:cubicBezTo>
                  <a:cubicBezTo>
                    <a:pt x="1357246" y="18"/>
                    <a:pt x="1352570" y="720"/>
                    <a:pt x="1348077" y="2099"/>
                  </a:cubicBezTo>
                  <a:cubicBezTo>
                    <a:pt x="1346638" y="2577"/>
                    <a:pt x="1345204" y="3097"/>
                    <a:pt x="1343727" y="3661"/>
                  </a:cubicBezTo>
                  <a:cubicBezTo>
                    <a:pt x="1336774" y="6615"/>
                    <a:pt x="1330638" y="11204"/>
                    <a:pt x="1325845" y="17035"/>
                  </a:cubicBezTo>
                  <a:cubicBezTo>
                    <a:pt x="1321052" y="22866"/>
                    <a:pt x="1317745" y="29766"/>
                    <a:pt x="1316202" y="37148"/>
                  </a:cubicBezTo>
                  <a:cubicBezTo>
                    <a:pt x="1315589" y="40249"/>
                    <a:pt x="1315281" y="43402"/>
                    <a:pt x="1315289" y="46561"/>
                  </a:cubicBezTo>
                  <a:cubicBezTo>
                    <a:pt x="1315276" y="58888"/>
                    <a:pt x="1320174" y="70714"/>
                    <a:pt x="1328900" y="79442"/>
                  </a:cubicBezTo>
                  <a:cubicBezTo>
                    <a:pt x="1331072" y="81540"/>
                    <a:pt x="1333432" y="83442"/>
                    <a:pt x="1335944" y="85124"/>
                  </a:cubicBezTo>
                  <a:cubicBezTo>
                    <a:pt x="1339703" y="87641"/>
                    <a:pt x="1343801" y="89613"/>
                    <a:pt x="1348120" y="90980"/>
                  </a:cubicBezTo>
                  <a:cubicBezTo>
                    <a:pt x="1354899" y="93053"/>
                    <a:pt x="1362061" y="93587"/>
                    <a:pt x="1369079" y="92542"/>
                  </a:cubicBezTo>
                  <a:cubicBezTo>
                    <a:pt x="1371373" y="92181"/>
                    <a:pt x="1373638" y="91659"/>
                    <a:pt x="1375862" y="90980"/>
                  </a:cubicBezTo>
                  <a:cubicBezTo>
                    <a:pt x="1380182" y="89623"/>
                    <a:pt x="1384280" y="87651"/>
                    <a:pt x="1388034" y="85124"/>
                  </a:cubicBezTo>
                  <a:cubicBezTo>
                    <a:pt x="1390503" y="83435"/>
                    <a:pt x="1392815" y="81534"/>
                    <a:pt x="1394948" y="79442"/>
                  </a:cubicBezTo>
                  <a:cubicBezTo>
                    <a:pt x="1399285" y="75128"/>
                    <a:pt x="1402723" y="70003"/>
                    <a:pt x="1405065" y="64361"/>
                  </a:cubicBezTo>
                  <a:cubicBezTo>
                    <a:pt x="1407407" y="58718"/>
                    <a:pt x="1408611" y="52669"/>
                    <a:pt x="1408602" y="46561"/>
                  </a:cubicBezTo>
                  <a:cubicBezTo>
                    <a:pt x="1408598" y="43400"/>
                    <a:pt x="1408276" y="40247"/>
                    <a:pt x="1407646" y="37148"/>
                  </a:cubicBezTo>
                  <a:cubicBezTo>
                    <a:pt x="1406112" y="29764"/>
                    <a:pt x="1402809" y="22860"/>
                    <a:pt x="1398012" y="17027"/>
                  </a:cubicBezTo>
                  <a:cubicBezTo>
                    <a:pt x="1393219" y="11196"/>
                    <a:pt x="1387083" y="6609"/>
                    <a:pt x="1380121" y="3661"/>
                  </a:cubicBezTo>
                  <a:lnTo>
                    <a:pt x="1380165" y="3661"/>
                  </a:lnTo>
                  <a:close/>
                  <a:moveTo>
                    <a:pt x="431705" y="3661"/>
                  </a:moveTo>
                  <a:cubicBezTo>
                    <a:pt x="425356" y="986"/>
                    <a:pt x="418490" y="-250"/>
                    <a:pt x="411603" y="42"/>
                  </a:cubicBezTo>
                  <a:cubicBezTo>
                    <a:pt x="404719" y="334"/>
                    <a:pt x="397984" y="2148"/>
                    <a:pt x="391882" y="5352"/>
                  </a:cubicBezTo>
                  <a:cubicBezTo>
                    <a:pt x="385785" y="8555"/>
                    <a:pt x="380475" y="13069"/>
                    <a:pt x="376338" y="18568"/>
                  </a:cubicBezTo>
                  <a:cubicBezTo>
                    <a:pt x="372201" y="24066"/>
                    <a:pt x="369337" y="30413"/>
                    <a:pt x="367956" y="37148"/>
                  </a:cubicBezTo>
                  <a:cubicBezTo>
                    <a:pt x="367308" y="40244"/>
                    <a:pt x="366986" y="43399"/>
                    <a:pt x="367000" y="46561"/>
                  </a:cubicBezTo>
                  <a:cubicBezTo>
                    <a:pt x="366808" y="52785"/>
                    <a:pt x="367873" y="58983"/>
                    <a:pt x="370128" y="64788"/>
                  </a:cubicBezTo>
                  <a:cubicBezTo>
                    <a:pt x="372384" y="70593"/>
                    <a:pt x="375786" y="75887"/>
                    <a:pt x="380132" y="80357"/>
                  </a:cubicBezTo>
                  <a:cubicBezTo>
                    <a:pt x="384477" y="84826"/>
                    <a:pt x="389679" y="88379"/>
                    <a:pt x="395428" y="90805"/>
                  </a:cubicBezTo>
                  <a:cubicBezTo>
                    <a:pt x="401173" y="93232"/>
                    <a:pt x="407353" y="94482"/>
                    <a:pt x="413593" y="94482"/>
                  </a:cubicBezTo>
                  <a:cubicBezTo>
                    <a:pt x="419833" y="94482"/>
                    <a:pt x="426013" y="93232"/>
                    <a:pt x="431762" y="90805"/>
                  </a:cubicBezTo>
                  <a:cubicBezTo>
                    <a:pt x="437507" y="88379"/>
                    <a:pt x="442708" y="84826"/>
                    <a:pt x="447054" y="80357"/>
                  </a:cubicBezTo>
                  <a:cubicBezTo>
                    <a:pt x="451399" y="75887"/>
                    <a:pt x="454802" y="70593"/>
                    <a:pt x="457057" y="64788"/>
                  </a:cubicBezTo>
                  <a:cubicBezTo>
                    <a:pt x="459313" y="58983"/>
                    <a:pt x="460377" y="52785"/>
                    <a:pt x="460186" y="46561"/>
                  </a:cubicBezTo>
                  <a:cubicBezTo>
                    <a:pt x="460178" y="43400"/>
                    <a:pt x="459856" y="40247"/>
                    <a:pt x="459230" y="37148"/>
                  </a:cubicBezTo>
                  <a:cubicBezTo>
                    <a:pt x="457705" y="29759"/>
                    <a:pt x="454402" y="22851"/>
                    <a:pt x="449609" y="17017"/>
                  </a:cubicBezTo>
                  <a:cubicBezTo>
                    <a:pt x="444812" y="11183"/>
                    <a:pt x="438667" y="6600"/>
                    <a:pt x="431705" y="3661"/>
                  </a:cubicBezTo>
                  <a:close/>
                </a:path>
              </a:pathLst>
            </a:custGeom>
            <a:solidFill>
              <a:schemeClr val="accent1"/>
            </a:solidFill>
            <a:ln w="4341" cap="flat">
              <a:noFill/>
              <a:prstDash val="solid"/>
              <a:miter/>
            </a:ln>
          </p:spPr>
          <p:txBody>
            <a:bodyPr rtlCol="0" anchor="ctr"/>
            <a:lstStyle/>
            <a:p>
              <a:endParaRPr lang="en-US"/>
            </a:p>
          </p:txBody>
        </p:sp>
      </p:grpSp>
      <p:sp>
        <p:nvSpPr>
          <p:cNvPr id="14" name="TextBox 11">
            <a:extLst>
              <a:ext uri="{FF2B5EF4-FFF2-40B4-BE49-F238E27FC236}">
                <a16:creationId xmlns:a16="http://schemas.microsoft.com/office/drawing/2014/main" id="{39547B8F-3F2C-E242-9800-F06CB5448E5F}"/>
              </a:ext>
            </a:extLst>
          </p:cNvPr>
          <p:cNvSpPr txBox="1">
            <a:spLocks noChangeArrowheads="1"/>
          </p:cNvSpPr>
          <p:nvPr userDrawn="1"/>
        </p:nvSpPr>
        <p:spPr bwMode="auto">
          <a:xfrm rot="16200000">
            <a:off x="11396066" y="674731"/>
            <a:ext cx="84189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700">
                <a:solidFill>
                  <a:schemeClr val="tx1">
                    <a:lumMod val="65000"/>
                    <a:lumOff val="35000"/>
                  </a:schemeClr>
                </a:solidFill>
                <a:latin typeface="Arial" panose="020B0604020202020204" pitchFamily="34" charset="0"/>
                <a:ea typeface="Segoe UI Historic" panose="020B0502040204020203" pitchFamily="34" charset="0"/>
                <a:cs typeface="Arial" panose="020B0604020202020204" pitchFamily="34" charset="0"/>
              </a:rPr>
              <a:t>© Digital.ai.2023</a:t>
            </a:r>
          </a:p>
        </p:txBody>
      </p:sp>
      <p:cxnSp>
        <p:nvCxnSpPr>
          <p:cNvPr id="17" name="Straight Connector 16">
            <a:extLst>
              <a:ext uri="{FF2B5EF4-FFF2-40B4-BE49-F238E27FC236}">
                <a16:creationId xmlns:a16="http://schemas.microsoft.com/office/drawing/2014/main" id="{2D286B7F-1B37-5242-808C-441272CB738C}"/>
              </a:ext>
            </a:extLst>
          </p:cNvPr>
          <p:cNvCxnSpPr>
            <a:cxnSpLocks/>
          </p:cNvCxnSpPr>
          <p:nvPr userDrawn="1"/>
        </p:nvCxnSpPr>
        <p:spPr>
          <a:xfrm>
            <a:off x="11825964" y="1266093"/>
            <a:ext cx="0" cy="522514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AEA895D9-90CA-3F44-B7E2-0EBFCFD5887C}"/>
              </a:ext>
            </a:extLst>
          </p:cNvPr>
          <p:cNvSpPr>
            <a:spLocks noGrp="1"/>
          </p:cNvSpPr>
          <p:nvPr>
            <p:ph type="body" sz="quarter" idx="10" hasCustomPrompt="1"/>
          </p:nvPr>
        </p:nvSpPr>
        <p:spPr>
          <a:xfrm>
            <a:off x="5605382" y="4411958"/>
            <a:ext cx="5827967" cy="369332"/>
          </a:xfrm>
          <a:noFill/>
        </p:spPr>
        <p:txBody>
          <a:bodyPr wrap="square" rtlCol="0">
            <a:spAutoFit/>
          </a:bodyPr>
          <a:lstStyle>
            <a:lvl1pPr marL="0" indent="0">
              <a:buNone/>
              <a:defRPr lang="en-US" sz="1800" dirty="0">
                <a:solidFill>
                  <a:schemeClr val="tx1">
                    <a:lumMod val="75000"/>
                    <a:lumOff val="25000"/>
                  </a:schemeClr>
                </a:solidFill>
                <a:latin typeface="+mn-lt"/>
                <a:cs typeface="+mn-cs"/>
              </a:defRPr>
            </a:lvl1pPr>
          </a:lstStyle>
          <a:p>
            <a:pPr marL="0" lvl="0" defTabSz="914400" latinLnBrk="0"/>
            <a:r>
              <a:rPr lang="en-US"/>
              <a:t>Click To Edit Master Text Styles</a:t>
            </a:r>
          </a:p>
        </p:txBody>
      </p:sp>
      <p:sp>
        <p:nvSpPr>
          <p:cNvPr id="15" name="Title 14">
            <a:extLst>
              <a:ext uri="{FF2B5EF4-FFF2-40B4-BE49-F238E27FC236}">
                <a16:creationId xmlns:a16="http://schemas.microsoft.com/office/drawing/2014/main" id="{E2562DB3-52CC-1D49-8206-9CFAA46EE2E2}"/>
              </a:ext>
            </a:extLst>
          </p:cNvPr>
          <p:cNvSpPr>
            <a:spLocks noGrp="1"/>
          </p:cNvSpPr>
          <p:nvPr>
            <p:ph type="title" hasCustomPrompt="1"/>
          </p:nvPr>
        </p:nvSpPr>
        <p:spPr>
          <a:xfrm>
            <a:off x="5605382" y="2288427"/>
            <a:ext cx="5827972" cy="2086725"/>
          </a:xfrm>
          <a:noFill/>
        </p:spPr>
        <p:txBody>
          <a:bodyPr wrap="square" rtlCol="0" anchor="b">
            <a:spAutoFit/>
          </a:bodyPr>
          <a:lstStyle>
            <a:lvl1pPr>
              <a:lnSpc>
                <a:spcPct val="80000"/>
              </a:lnSpc>
              <a:defRPr lang="en-US" sz="5400" spc="-150" dirty="0">
                <a:ea typeface="+mn-ea"/>
              </a:defRPr>
            </a:lvl1pPr>
          </a:lstStyle>
          <a:p>
            <a:pPr marL="0" lvl="0" defTabSz="914400" latinLnBrk="0">
              <a:lnSpc>
                <a:spcPct val="80000"/>
              </a:lnSpc>
            </a:pPr>
            <a:r>
              <a:rPr lang="en-US"/>
              <a:t>PRESENTATION</a:t>
            </a:r>
            <a:br>
              <a:rPr lang="en-US"/>
            </a:br>
            <a:r>
              <a:rPr lang="en-US"/>
              <a:t>TITLE GOES</a:t>
            </a:r>
            <a:br>
              <a:rPr lang="en-US"/>
            </a:br>
            <a:r>
              <a:rPr lang="en-US"/>
              <a:t>HERE</a:t>
            </a:r>
          </a:p>
        </p:txBody>
      </p:sp>
      <p:sp>
        <p:nvSpPr>
          <p:cNvPr id="19" name="Text Placeholder 4">
            <a:extLst>
              <a:ext uri="{FF2B5EF4-FFF2-40B4-BE49-F238E27FC236}">
                <a16:creationId xmlns:a16="http://schemas.microsoft.com/office/drawing/2014/main" id="{40650BA2-390F-FD43-851C-D20399A4D664}"/>
              </a:ext>
            </a:extLst>
          </p:cNvPr>
          <p:cNvSpPr>
            <a:spLocks noGrp="1"/>
          </p:cNvSpPr>
          <p:nvPr>
            <p:ph type="body" sz="quarter" idx="11" hasCustomPrompt="1"/>
          </p:nvPr>
        </p:nvSpPr>
        <p:spPr>
          <a:xfrm>
            <a:off x="5605382" y="5113943"/>
            <a:ext cx="5827961" cy="276999"/>
          </a:xfrm>
          <a:noFill/>
        </p:spPr>
        <p:txBody>
          <a:bodyPr wrap="square" rtlCol="0">
            <a:spAutoFit/>
          </a:bodyPr>
          <a:lstStyle>
            <a:lvl1pPr marL="0" indent="0">
              <a:buNone/>
              <a:defRPr lang="en-US" sz="1200" dirty="0">
                <a:solidFill>
                  <a:schemeClr val="tx1">
                    <a:lumMod val="75000"/>
                    <a:lumOff val="25000"/>
                  </a:schemeClr>
                </a:solidFill>
                <a:latin typeface="+mn-lt"/>
                <a:cs typeface="+mn-cs"/>
              </a:defRPr>
            </a:lvl1pPr>
          </a:lstStyle>
          <a:p>
            <a:pPr marL="0" lvl="0" defTabSz="914400" latinLnBrk="0"/>
            <a:r>
              <a:rPr lang="en-US"/>
              <a:t>Presenter’s Name</a:t>
            </a:r>
          </a:p>
        </p:txBody>
      </p:sp>
    </p:spTree>
    <p:extLst>
      <p:ext uri="{BB962C8B-B14F-4D97-AF65-F5344CB8AC3E}">
        <p14:creationId xmlns:p14="http://schemas.microsoft.com/office/powerpoint/2010/main" val="3622998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 Header + Subhead #1">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F52DBD38-538A-7E4C-BE01-88A7D58326FB}"/>
              </a:ext>
            </a:extLst>
          </p:cNvPr>
          <p:cNvSpPr>
            <a:spLocks noGrp="1"/>
          </p:cNvSpPr>
          <p:nvPr>
            <p:ph type="body" sz="quarter" idx="11"/>
          </p:nvPr>
        </p:nvSpPr>
        <p:spPr>
          <a:xfrm>
            <a:off x="421531" y="1451834"/>
            <a:ext cx="11324083" cy="400050"/>
          </a:xfrm>
          <a:prstGeom prst="rect">
            <a:avLst/>
          </a:prstGeom>
        </p:spPr>
        <p:txBody>
          <a:bodyPr>
            <a:noAutofit/>
          </a:bodyPr>
          <a:lstStyle>
            <a:lvl1pPr marL="0" indent="0">
              <a:buNone/>
              <a:defRPr sz="2000" b="1">
                <a:solidFill>
                  <a:srgbClr val="649A3D"/>
                </a:solidFill>
                <a:latin typeface="Arial" panose="020B0604020202020204" pitchFamily="34" charset="0"/>
                <a:ea typeface="Segoe UI Historic" panose="020B0502040204020203" pitchFamily="34" charset="0"/>
                <a:cs typeface="Arial" panose="020B0604020202020204" pitchFamily="34" charset="0"/>
              </a:defRPr>
            </a:lvl1pPr>
            <a:lvl2pPr marL="457200" indent="0">
              <a:buNone/>
              <a:defRPr sz="2800">
                <a:latin typeface="Segoe UI Historic" panose="020B0502040204020203" pitchFamily="34" charset="0"/>
                <a:ea typeface="Segoe UI Historic" panose="020B0502040204020203" pitchFamily="34" charset="0"/>
                <a:cs typeface="Segoe UI Historic" panose="020B0502040204020203" pitchFamily="34" charset="0"/>
              </a:defRPr>
            </a:lvl2pPr>
            <a:lvl3pPr marL="914400" indent="0">
              <a:buNone/>
              <a:defRPr sz="2400">
                <a:latin typeface="Segoe UI Historic" panose="020B0502040204020203" pitchFamily="34" charset="0"/>
                <a:ea typeface="Segoe UI Historic" panose="020B0502040204020203" pitchFamily="34" charset="0"/>
                <a:cs typeface="Segoe UI Historic" panose="020B0502040204020203" pitchFamily="34" charset="0"/>
              </a:defRPr>
            </a:lvl3pPr>
            <a:lvl4pPr marL="1371600" indent="0">
              <a:buNone/>
              <a:defRPr sz="2000">
                <a:latin typeface="Segoe UI Historic" panose="020B0502040204020203" pitchFamily="34" charset="0"/>
                <a:ea typeface="Segoe UI Historic" panose="020B0502040204020203" pitchFamily="34" charset="0"/>
                <a:cs typeface="Segoe UI Historic" panose="020B0502040204020203" pitchFamily="34" charset="0"/>
              </a:defRPr>
            </a:lvl4pPr>
            <a:lvl5pPr marL="1828800" indent="0">
              <a:buNone/>
              <a:defRPr sz="2000">
                <a:latin typeface="Segoe UI Historic" panose="020B0502040204020203" pitchFamily="34" charset="0"/>
                <a:ea typeface="Segoe UI Historic" panose="020B0502040204020203" pitchFamily="34" charset="0"/>
                <a:cs typeface="Segoe UI Historic" panose="020B0502040204020203" pitchFamily="34" charset="0"/>
              </a:defRPr>
            </a:lvl5pPr>
          </a:lstStyle>
          <a:p>
            <a:pPr lvl="0"/>
            <a:r>
              <a:rPr lang="en-US"/>
              <a:t>Click to edit Master text styles</a:t>
            </a:r>
          </a:p>
        </p:txBody>
      </p:sp>
      <p:cxnSp>
        <p:nvCxnSpPr>
          <p:cNvPr id="11" name="Straight Connector 10">
            <a:extLst>
              <a:ext uri="{FF2B5EF4-FFF2-40B4-BE49-F238E27FC236}">
                <a16:creationId xmlns:a16="http://schemas.microsoft.com/office/drawing/2014/main" id="{63104207-C65B-1343-AA12-8A25B65B8D18}"/>
              </a:ext>
            </a:extLst>
          </p:cNvPr>
          <p:cNvCxnSpPr>
            <a:cxnSpLocks/>
          </p:cNvCxnSpPr>
          <p:nvPr userDrawn="1"/>
        </p:nvCxnSpPr>
        <p:spPr>
          <a:xfrm>
            <a:off x="515073" y="1249680"/>
            <a:ext cx="11676927" cy="0"/>
          </a:xfrm>
          <a:prstGeom prst="line">
            <a:avLst/>
          </a:prstGeom>
          <a:ln w="50800" cap="flat" cmpd="sng">
            <a:solidFill>
              <a:srgbClr val="649A3D"/>
            </a:solidFill>
            <a:prstDash val="solid"/>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12AA9203-8B1A-7B4F-9B58-474CE26F7385}"/>
              </a:ext>
            </a:extLst>
          </p:cNvPr>
          <p:cNvSpPr>
            <a:spLocks noGrp="1"/>
          </p:cNvSpPr>
          <p:nvPr>
            <p:ph type="ftr" sz="quarter" idx="12"/>
          </p:nvPr>
        </p:nvSpPr>
        <p:spPr/>
        <p:txBody>
          <a:bodyPr/>
          <a:lstStyle/>
          <a:p>
            <a:endParaRPr lang="en-US"/>
          </a:p>
        </p:txBody>
      </p:sp>
      <p:sp>
        <p:nvSpPr>
          <p:cNvPr id="21" name="Title 20">
            <a:extLst>
              <a:ext uri="{FF2B5EF4-FFF2-40B4-BE49-F238E27FC236}">
                <a16:creationId xmlns:a16="http://schemas.microsoft.com/office/drawing/2014/main" id="{3B3C6163-9A98-6B41-B176-5647E0464D6E}"/>
              </a:ext>
            </a:extLst>
          </p:cNvPr>
          <p:cNvSpPr>
            <a:spLocks noGrp="1"/>
          </p:cNvSpPr>
          <p:nvPr>
            <p:ph type="title"/>
          </p:nvPr>
        </p:nvSpPr>
        <p:spPr>
          <a:xfrm>
            <a:off x="421532" y="295156"/>
            <a:ext cx="11324083" cy="897038"/>
          </a:xfrm>
        </p:spPr>
        <p:txBody>
          <a:bodyPr/>
          <a:lstStyle/>
          <a:p>
            <a:r>
              <a:rPr lang="en-US"/>
              <a:t>Click to edit Master title style</a:t>
            </a:r>
          </a:p>
        </p:txBody>
      </p:sp>
    </p:spTree>
    <p:extLst>
      <p:ext uri="{BB962C8B-B14F-4D97-AF65-F5344CB8AC3E}">
        <p14:creationId xmlns:p14="http://schemas.microsoft.com/office/powerpoint/2010/main" val="3306019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bg1"/>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D5A1184-5728-834B-98AB-2FAE7706C866}"/>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19527" r="247"/>
          <a:stretch/>
        </p:blipFill>
        <p:spPr>
          <a:xfrm>
            <a:off x="2362200" y="0"/>
            <a:ext cx="9829800" cy="6858000"/>
          </a:xfrm>
          <a:prstGeom prst="rect">
            <a:avLst/>
          </a:prstGeom>
        </p:spPr>
      </p:pic>
      <p:grpSp>
        <p:nvGrpSpPr>
          <p:cNvPr id="21" name="Group 20">
            <a:extLst>
              <a:ext uri="{FF2B5EF4-FFF2-40B4-BE49-F238E27FC236}">
                <a16:creationId xmlns:a16="http://schemas.microsoft.com/office/drawing/2014/main" id="{9639C907-7AD1-D345-B4D7-2E6E5F802B1B}"/>
              </a:ext>
            </a:extLst>
          </p:cNvPr>
          <p:cNvGrpSpPr/>
          <p:nvPr userDrawn="1"/>
        </p:nvGrpSpPr>
        <p:grpSpPr>
          <a:xfrm>
            <a:off x="10209121" y="6237171"/>
            <a:ext cx="1224237" cy="303315"/>
            <a:chOff x="9337806" y="4106341"/>
            <a:chExt cx="1729902" cy="428598"/>
          </a:xfrm>
          <a:solidFill>
            <a:schemeClr val="bg1"/>
          </a:solidFill>
        </p:grpSpPr>
        <p:sp>
          <p:nvSpPr>
            <p:cNvPr id="22" name="Freeform 21">
              <a:extLst>
                <a:ext uri="{FF2B5EF4-FFF2-40B4-BE49-F238E27FC236}">
                  <a16:creationId xmlns:a16="http://schemas.microsoft.com/office/drawing/2014/main" id="{05210CB2-98CF-5544-807F-007D23912928}"/>
                </a:ext>
              </a:extLst>
            </p:cNvPr>
            <p:cNvSpPr/>
            <p:nvPr/>
          </p:nvSpPr>
          <p:spPr>
            <a:xfrm>
              <a:off x="9337806" y="4106341"/>
              <a:ext cx="1729902" cy="428598"/>
            </a:xfrm>
            <a:custGeom>
              <a:avLst/>
              <a:gdLst>
                <a:gd name="connsiteX0" fmla="*/ 1682722 w 1729902"/>
                <a:gd name="connsiteY0" fmla="*/ 96586 h 428598"/>
                <a:gd name="connsiteX1" fmla="*/ 1674027 w 1729902"/>
                <a:gd name="connsiteY1" fmla="*/ 96586 h 428598"/>
                <a:gd name="connsiteX2" fmla="*/ 1674027 w 1729902"/>
                <a:gd name="connsiteY2" fmla="*/ 91814 h 428598"/>
                <a:gd name="connsiteX3" fmla="*/ 1695768 w 1729902"/>
                <a:gd name="connsiteY3" fmla="*/ 91814 h 428598"/>
                <a:gd name="connsiteX4" fmla="*/ 1695768 w 1729902"/>
                <a:gd name="connsiteY4" fmla="*/ 96586 h 428598"/>
                <a:gd name="connsiteX5" fmla="*/ 1687289 w 1729902"/>
                <a:gd name="connsiteY5" fmla="*/ 96586 h 428598"/>
                <a:gd name="connsiteX6" fmla="*/ 1687289 w 1729902"/>
                <a:gd name="connsiteY6" fmla="*/ 122613 h 428598"/>
                <a:gd name="connsiteX7" fmla="*/ 1682331 w 1729902"/>
                <a:gd name="connsiteY7" fmla="*/ 122613 h 428598"/>
                <a:gd name="connsiteX8" fmla="*/ 1682722 w 1729902"/>
                <a:gd name="connsiteY8" fmla="*/ 96586 h 428598"/>
                <a:gd name="connsiteX9" fmla="*/ 1700118 w 1729902"/>
                <a:gd name="connsiteY9" fmla="*/ 91814 h 428598"/>
                <a:gd name="connsiteX10" fmla="*/ 1707814 w 1729902"/>
                <a:gd name="connsiteY10" fmla="*/ 91814 h 428598"/>
                <a:gd name="connsiteX11" fmla="*/ 1715032 w 1729902"/>
                <a:gd name="connsiteY11" fmla="*/ 113503 h 428598"/>
                <a:gd name="connsiteX12" fmla="*/ 1722163 w 1729902"/>
                <a:gd name="connsiteY12" fmla="*/ 91814 h 428598"/>
                <a:gd name="connsiteX13" fmla="*/ 1729902 w 1729902"/>
                <a:gd name="connsiteY13" fmla="*/ 91814 h 428598"/>
                <a:gd name="connsiteX14" fmla="*/ 1729902 w 1729902"/>
                <a:gd name="connsiteY14" fmla="*/ 122526 h 428598"/>
                <a:gd name="connsiteX15" fmla="*/ 1725035 w 1729902"/>
                <a:gd name="connsiteY15" fmla="*/ 122526 h 428598"/>
                <a:gd name="connsiteX16" fmla="*/ 1725035 w 1729902"/>
                <a:gd name="connsiteY16" fmla="*/ 97844 h 428598"/>
                <a:gd name="connsiteX17" fmla="*/ 1716596 w 1729902"/>
                <a:gd name="connsiteY17" fmla="*/ 122526 h 428598"/>
                <a:gd name="connsiteX18" fmla="*/ 1713163 w 1729902"/>
                <a:gd name="connsiteY18" fmla="*/ 122526 h 428598"/>
                <a:gd name="connsiteX19" fmla="*/ 1704859 w 1729902"/>
                <a:gd name="connsiteY19" fmla="*/ 97844 h 428598"/>
                <a:gd name="connsiteX20" fmla="*/ 1704859 w 1729902"/>
                <a:gd name="connsiteY20" fmla="*/ 122526 h 428598"/>
                <a:gd name="connsiteX21" fmla="*/ 1700161 w 1729902"/>
                <a:gd name="connsiteY21" fmla="*/ 122526 h 428598"/>
                <a:gd name="connsiteX22" fmla="*/ 1700118 w 1729902"/>
                <a:gd name="connsiteY22" fmla="*/ 91814 h 428598"/>
                <a:gd name="connsiteX23" fmla="*/ 1531574 w 1729902"/>
                <a:gd name="connsiteY23" fmla="*/ 90860 h 428598"/>
                <a:gd name="connsiteX24" fmla="*/ 1515022 w 1729902"/>
                <a:gd name="connsiteY24" fmla="*/ 96598 h 428598"/>
                <a:gd name="connsiteX25" fmla="*/ 1506704 w 1729902"/>
                <a:gd name="connsiteY25" fmla="*/ 111985 h 428598"/>
                <a:gd name="connsiteX26" fmla="*/ 1437783 w 1729902"/>
                <a:gd name="connsiteY26" fmla="*/ 85525 h 428598"/>
                <a:gd name="connsiteX27" fmla="*/ 1390608 w 1729902"/>
                <a:gd name="connsiteY27" fmla="*/ 94645 h 428598"/>
                <a:gd name="connsiteX28" fmla="*/ 1350646 w 1729902"/>
                <a:gd name="connsiteY28" fmla="*/ 121263 h 428598"/>
                <a:gd name="connsiteX29" fmla="*/ 1324116 w 1729902"/>
                <a:gd name="connsiteY29" fmla="*/ 161232 h 428598"/>
                <a:gd name="connsiteX30" fmla="*/ 1315159 w 1729902"/>
                <a:gd name="connsiteY30" fmla="*/ 208327 h 428598"/>
                <a:gd name="connsiteX31" fmla="*/ 1315159 w 1729902"/>
                <a:gd name="connsiteY31" fmla="*/ 213272 h 428598"/>
                <a:gd name="connsiteX32" fmla="*/ 1347260 w 1729902"/>
                <a:gd name="connsiteY32" fmla="*/ 238760 h 428598"/>
                <a:gd name="connsiteX33" fmla="*/ 1359380 w 1729902"/>
                <a:gd name="connsiteY33" fmla="*/ 277861 h 428598"/>
                <a:gd name="connsiteX34" fmla="*/ 1355513 w 1729902"/>
                <a:gd name="connsiteY34" fmla="*/ 300417 h 428598"/>
                <a:gd name="connsiteX35" fmla="*/ 1437653 w 1729902"/>
                <a:gd name="connsiteY35" fmla="*/ 330348 h 428598"/>
                <a:gd name="connsiteX36" fmla="*/ 1506444 w 1729902"/>
                <a:gd name="connsiteY36" fmla="*/ 302587 h 428598"/>
                <a:gd name="connsiteX37" fmla="*/ 1514218 w 1729902"/>
                <a:gd name="connsiteY37" fmla="*/ 319148 h 428598"/>
                <a:gd name="connsiteX38" fmla="*/ 1531444 w 1729902"/>
                <a:gd name="connsiteY38" fmla="*/ 325403 h 428598"/>
                <a:gd name="connsiteX39" fmla="*/ 1556926 w 1729902"/>
                <a:gd name="connsiteY39" fmla="*/ 299941 h 428598"/>
                <a:gd name="connsiteX40" fmla="*/ 1556926 w 1729902"/>
                <a:gd name="connsiteY40" fmla="*/ 115932 h 428598"/>
                <a:gd name="connsiteX41" fmla="*/ 1555418 w 1729902"/>
                <a:gd name="connsiteY41" fmla="*/ 106006 h 428598"/>
                <a:gd name="connsiteX42" fmla="*/ 1549917 w 1729902"/>
                <a:gd name="connsiteY42" fmla="*/ 97599 h 428598"/>
                <a:gd name="connsiteX43" fmla="*/ 1541417 w 1729902"/>
                <a:gd name="connsiteY43" fmla="*/ 92228 h 428598"/>
                <a:gd name="connsiteX44" fmla="*/ 1531444 w 1729902"/>
                <a:gd name="connsiteY44" fmla="*/ 90860 h 428598"/>
                <a:gd name="connsiteX45" fmla="*/ 1531574 w 1729902"/>
                <a:gd name="connsiteY45" fmla="*/ 90860 h 428598"/>
                <a:gd name="connsiteX46" fmla="*/ 1437436 w 1729902"/>
                <a:gd name="connsiteY46" fmla="*/ 276430 h 428598"/>
                <a:gd name="connsiteX47" fmla="*/ 1399403 w 1729902"/>
                <a:gd name="connsiteY47" fmla="*/ 264970 h 428598"/>
                <a:gd name="connsiteX48" fmla="*/ 1374177 w 1729902"/>
                <a:gd name="connsiteY48" fmla="*/ 234358 h 428598"/>
                <a:gd name="connsiteX49" fmla="*/ 1370253 w 1729902"/>
                <a:gd name="connsiteY49" fmla="*/ 194922 h 428598"/>
                <a:gd name="connsiteX50" fmla="*/ 1388965 w 1729902"/>
                <a:gd name="connsiteY50" fmla="*/ 159964 h 428598"/>
                <a:gd name="connsiteX51" fmla="*/ 1423999 w 1729902"/>
                <a:gd name="connsiteY51" fmla="*/ 141276 h 428598"/>
                <a:gd name="connsiteX52" fmla="*/ 1463531 w 1729902"/>
                <a:gd name="connsiteY52" fmla="*/ 145162 h 428598"/>
                <a:gd name="connsiteX53" fmla="*/ 1494232 w 1729902"/>
                <a:gd name="connsiteY53" fmla="*/ 170311 h 428598"/>
                <a:gd name="connsiteX54" fmla="*/ 1505748 w 1729902"/>
                <a:gd name="connsiteY54" fmla="*/ 208240 h 428598"/>
                <a:gd name="connsiteX55" fmla="*/ 1485728 w 1729902"/>
                <a:gd name="connsiteY55" fmla="*/ 256430 h 428598"/>
                <a:gd name="connsiteX56" fmla="*/ 1437436 w 1729902"/>
                <a:gd name="connsiteY56" fmla="*/ 276430 h 428598"/>
                <a:gd name="connsiteX57" fmla="*/ 1082784 w 1729902"/>
                <a:gd name="connsiteY57" fmla="*/ 90860 h 428598"/>
                <a:gd name="connsiteX58" fmla="*/ 1066244 w 1729902"/>
                <a:gd name="connsiteY58" fmla="*/ 96602 h 428598"/>
                <a:gd name="connsiteX59" fmla="*/ 1057953 w 1729902"/>
                <a:gd name="connsiteY59" fmla="*/ 111985 h 428598"/>
                <a:gd name="connsiteX60" fmla="*/ 989032 w 1729902"/>
                <a:gd name="connsiteY60" fmla="*/ 85525 h 428598"/>
                <a:gd name="connsiteX61" fmla="*/ 941856 w 1729902"/>
                <a:gd name="connsiteY61" fmla="*/ 94645 h 428598"/>
                <a:gd name="connsiteX62" fmla="*/ 901894 w 1729902"/>
                <a:gd name="connsiteY62" fmla="*/ 121263 h 428598"/>
                <a:gd name="connsiteX63" fmla="*/ 875369 w 1729902"/>
                <a:gd name="connsiteY63" fmla="*/ 161232 h 428598"/>
                <a:gd name="connsiteX64" fmla="*/ 866408 w 1729902"/>
                <a:gd name="connsiteY64" fmla="*/ 208327 h 428598"/>
                <a:gd name="connsiteX65" fmla="*/ 989032 w 1729902"/>
                <a:gd name="connsiteY65" fmla="*/ 330348 h 428598"/>
                <a:gd name="connsiteX66" fmla="*/ 1057823 w 1729902"/>
                <a:gd name="connsiteY66" fmla="*/ 302587 h 428598"/>
                <a:gd name="connsiteX67" fmla="*/ 1065584 w 1729902"/>
                <a:gd name="connsiteY67" fmla="*/ 319132 h 428598"/>
                <a:gd name="connsiteX68" fmla="*/ 1082784 w 1729902"/>
                <a:gd name="connsiteY68" fmla="*/ 325403 h 428598"/>
                <a:gd name="connsiteX69" fmla="*/ 1108305 w 1729902"/>
                <a:gd name="connsiteY69" fmla="*/ 299941 h 428598"/>
                <a:gd name="connsiteX70" fmla="*/ 1108305 w 1729902"/>
                <a:gd name="connsiteY70" fmla="*/ 115932 h 428598"/>
                <a:gd name="connsiteX71" fmla="*/ 1082784 w 1729902"/>
                <a:gd name="connsiteY71" fmla="*/ 90860 h 428598"/>
                <a:gd name="connsiteX72" fmla="*/ 986902 w 1729902"/>
                <a:gd name="connsiteY72" fmla="*/ 276430 h 428598"/>
                <a:gd name="connsiteX73" fmla="*/ 948874 w 1729902"/>
                <a:gd name="connsiteY73" fmla="*/ 264970 h 428598"/>
                <a:gd name="connsiteX74" fmla="*/ 923644 w 1729902"/>
                <a:gd name="connsiteY74" fmla="*/ 234358 h 428598"/>
                <a:gd name="connsiteX75" fmla="*/ 919720 w 1729902"/>
                <a:gd name="connsiteY75" fmla="*/ 194922 h 428598"/>
                <a:gd name="connsiteX76" fmla="*/ 938432 w 1729902"/>
                <a:gd name="connsiteY76" fmla="*/ 159964 h 428598"/>
                <a:gd name="connsiteX77" fmla="*/ 973466 w 1729902"/>
                <a:gd name="connsiteY77" fmla="*/ 141276 h 428598"/>
                <a:gd name="connsiteX78" fmla="*/ 1012998 w 1729902"/>
                <a:gd name="connsiteY78" fmla="*/ 145162 h 428598"/>
                <a:gd name="connsiteX79" fmla="*/ 1043704 w 1729902"/>
                <a:gd name="connsiteY79" fmla="*/ 170311 h 428598"/>
                <a:gd name="connsiteX80" fmla="*/ 1055215 w 1729902"/>
                <a:gd name="connsiteY80" fmla="*/ 208240 h 428598"/>
                <a:gd name="connsiteX81" fmla="*/ 1035195 w 1729902"/>
                <a:gd name="connsiteY81" fmla="*/ 256430 h 428598"/>
                <a:gd name="connsiteX82" fmla="*/ 986902 w 1729902"/>
                <a:gd name="connsiteY82" fmla="*/ 276430 h 428598"/>
                <a:gd name="connsiteX83" fmla="*/ 216374 w 1729902"/>
                <a:gd name="connsiteY83" fmla="*/ 71 h 428598"/>
                <a:gd name="connsiteX84" fmla="*/ 206404 w 1729902"/>
                <a:gd name="connsiteY84" fmla="*/ 1438 h 428598"/>
                <a:gd name="connsiteX85" fmla="*/ 197902 w 1729902"/>
                <a:gd name="connsiteY85" fmla="*/ 6810 h 428598"/>
                <a:gd name="connsiteX86" fmla="*/ 192400 w 1729902"/>
                <a:gd name="connsiteY86" fmla="*/ 15217 h 428598"/>
                <a:gd name="connsiteX87" fmla="*/ 190893 w 1729902"/>
                <a:gd name="connsiteY87" fmla="*/ 25143 h 428598"/>
                <a:gd name="connsiteX88" fmla="*/ 190893 w 1729902"/>
                <a:gd name="connsiteY88" fmla="*/ 112332 h 428598"/>
                <a:gd name="connsiteX89" fmla="*/ 122580 w 1729902"/>
                <a:gd name="connsiteY89" fmla="*/ 85525 h 428598"/>
                <a:gd name="connsiteX90" fmla="*/ 0 w 1729902"/>
                <a:gd name="connsiteY90" fmla="*/ 208327 h 428598"/>
                <a:gd name="connsiteX91" fmla="*/ 122580 w 1729902"/>
                <a:gd name="connsiteY91" fmla="*/ 330348 h 428598"/>
                <a:gd name="connsiteX92" fmla="*/ 193023 w 1729902"/>
                <a:gd name="connsiteY92" fmla="*/ 300721 h 428598"/>
                <a:gd name="connsiteX93" fmla="*/ 220505 w 1729902"/>
                <a:gd name="connsiteY93" fmla="*/ 325403 h 428598"/>
                <a:gd name="connsiteX94" fmla="*/ 229010 w 1729902"/>
                <a:gd name="connsiteY94" fmla="*/ 323693 h 428598"/>
                <a:gd name="connsiteX95" fmla="*/ 236126 w 1729902"/>
                <a:gd name="connsiteY95" fmla="*/ 318742 h 428598"/>
                <a:gd name="connsiteX96" fmla="*/ 240673 w 1729902"/>
                <a:gd name="connsiteY96" fmla="*/ 311372 h 428598"/>
                <a:gd name="connsiteX97" fmla="*/ 241899 w 1729902"/>
                <a:gd name="connsiteY97" fmla="*/ 302803 h 428598"/>
                <a:gd name="connsiteX98" fmla="*/ 241899 w 1729902"/>
                <a:gd name="connsiteY98" fmla="*/ 25186 h 428598"/>
                <a:gd name="connsiteX99" fmla="*/ 240287 w 1729902"/>
                <a:gd name="connsiteY99" fmla="*/ 15306 h 428598"/>
                <a:gd name="connsiteX100" fmla="*/ 234766 w 1729902"/>
                <a:gd name="connsiteY100" fmla="*/ 6947 h 428598"/>
                <a:gd name="connsiteX101" fmla="*/ 226302 w 1729902"/>
                <a:gd name="connsiteY101" fmla="*/ 1569 h 428598"/>
                <a:gd name="connsiteX102" fmla="*/ 216374 w 1729902"/>
                <a:gd name="connsiteY102" fmla="*/ 114 h 428598"/>
                <a:gd name="connsiteX103" fmla="*/ 216374 w 1729902"/>
                <a:gd name="connsiteY103" fmla="*/ 71 h 428598"/>
                <a:gd name="connsiteX104" fmla="*/ 122102 w 1729902"/>
                <a:gd name="connsiteY104" fmla="*/ 276430 h 428598"/>
                <a:gd name="connsiteX105" fmla="*/ 84073 w 1729902"/>
                <a:gd name="connsiteY105" fmla="*/ 264970 h 428598"/>
                <a:gd name="connsiteX106" fmla="*/ 58843 w 1729902"/>
                <a:gd name="connsiteY106" fmla="*/ 234358 h 428598"/>
                <a:gd name="connsiteX107" fmla="*/ 54922 w 1729902"/>
                <a:gd name="connsiteY107" fmla="*/ 194922 h 428598"/>
                <a:gd name="connsiteX108" fmla="*/ 73634 w 1729902"/>
                <a:gd name="connsiteY108" fmla="*/ 159964 h 428598"/>
                <a:gd name="connsiteX109" fmla="*/ 108665 w 1729902"/>
                <a:gd name="connsiteY109" fmla="*/ 141276 h 428598"/>
                <a:gd name="connsiteX110" fmla="*/ 148200 w 1729902"/>
                <a:gd name="connsiteY110" fmla="*/ 145162 h 428598"/>
                <a:gd name="connsiteX111" fmla="*/ 178902 w 1729902"/>
                <a:gd name="connsiteY111" fmla="*/ 170311 h 428598"/>
                <a:gd name="connsiteX112" fmla="*/ 190415 w 1729902"/>
                <a:gd name="connsiteY112" fmla="*/ 208240 h 428598"/>
                <a:gd name="connsiteX113" fmla="*/ 170396 w 1729902"/>
                <a:gd name="connsiteY113" fmla="*/ 256430 h 428598"/>
                <a:gd name="connsiteX114" fmla="*/ 122102 w 1729902"/>
                <a:gd name="connsiteY114" fmla="*/ 276430 h 428598"/>
                <a:gd name="connsiteX115" fmla="*/ 587634 w 1729902"/>
                <a:gd name="connsiteY115" fmla="*/ 90860 h 428598"/>
                <a:gd name="connsiteX116" fmla="*/ 560805 w 1729902"/>
                <a:gd name="connsiteY116" fmla="*/ 115455 h 428598"/>
                <a:gd name="connsiteX117" fmla="*/ 490145 w 1729902"/>
                <a:gd name="connsiteY117" fmla="*/ 85525 h 428598"/>
                <a:gd name="connsiteX118" fmla="*/ 367522 w 1729902"/>
                <a:gd name="connsiteY118" fmla="*/ 207936 h 428598"/>
                <a:gd name="connsiteX119" fmla="*/ 490145 w 1729902"/>
                <a:gd name="connsiteY119" fmla="*/ 330348 h 428598"/>
                <a:gd name="connsiteX120" fmla="*/ 557937 w 1729902"/>
                <a:gd name="connsiteY120" fmla="*/ 304322 h 428598"/>
                <a:gd name="connsiteX121" fmla="*/ 485187 w 1729902"/>
                <a:gd name="connsiteY121" fmla="*/ 377631 h 428598"/>
                <a:gd name="connsiteX122" fmla="*/ 475153 w 1729902"/>
                <a:gd name="connsiteY122" fmla="*/ 379097 h 428598"/>
                <a:gd name="connsiteX123" fmla="*/ 466627 w 1729902"/>
                <a:gd name="connsiteY123" fmla="*/ 384576 h 428598"/>
                <a:gd name="connsiteX124" fmla="*/ 461134 w 1729902"/>
                <a:gd name="connsiteY124" fmla="*/ 393081 h 428598"/>
                <a:gd name="connsiteX125" fmla="*/ 459665 w 1729902"/>
                <a:gd name="connsiteY125" fmla="*/ 403091 h 428598"/>
                <a:gd name="connsiteX126" fmla="*/ 486843 w 1729902"/>
                <a:gd name="connsiteY126" fmla="*/ 428598 h 428598"/>
                <a:gd name="connsiteX127" fmla="*/ 609423 w 1729902"/>
                <a:gd name="connsiteY127" fmla="*/ 306577 h 428598"/>
                <a:gd name="connsiteX128" fmla="*/ 609423 w 1729902"/>
                <a:gd name="connsiteY128" fmla="*/ 113069 h 428598"/>
                <a:gd name="connsiteX129" fmla="*/ 608059 w 1729902"/>
                <a:gd name="connsiteY129" fmla="*/ 104532 h 428598"/>
                <a:gd name="connsiteX130" fmla="*/ 603396 w 1729902"/>
                <a:gd name="connsiteY130" fmla="*/ 97246 h 428598"/>
                <a:gd name="connsiteX131" fmla="*/ 596204 w 1729902"/>
                <a:gd name="connsiteY131" fmla="*/ 92421 h 428598"/>
                <a:gd name="connsiteX132" fmla="*/ 587678 w 1729902"/>
                <a:gd name="connsiteY132" fmla="*/ 90860 h 428598"/>
                <a:gd name="connsiteX133" fmla="*/ 587634 w 1729902"/>
                <a:gd name="connsiteY133" fmla="*/ 90860 h 428598"/>
                <a:gd name="connsiteX134" fmla="*/ 489015 w 1729902"/>
                <a:gd name="connsiteY134" fmla="*/ 276430 h 428598"/>
                <a:gd name="connsiteX135" fmla="*/ 450987 w 1729902"/>
                <a:gd name="connsiteY135" fmla="*/ 264970 h 428598"/>
                <a:gd name="connsiteX136" fmla="*/ 425757 w 1729902"/>
                <a:gd name="connsiteY136" fmla="*/ 234358 h 428598"/>
                <a:gd name="connsiteX137" fmla="*/ 421837 w 1729902"/>
                <a:gd name="connsiteY137" fmla="*/ 194922 h 428598"/>
                <a:gd name="connsiteX138" fmla="*/ 440549 w 1729902"/>
                <a:gd name="connsiteY138" fmla="*/ 159964 h 428598"/>
                <a:gd name="connsiteX139" fmla="*/ 475579 w 1729902"/>
                <a:gd name="connsiteY139" fmla="*/ 141276 h 428598"/>
                <a:gd name="connsiteX140" fmla="*/ 515115 w 1729902"/>
                <a:gd name="connsiteY140" fmla="*/ 145162 h 428598"/>
                <a:gd name="connsiteX141" fmla="*/ 545817 w 1729902"/>
                <a:gd name="connsiteY141" fmla="*/ 170311 h 428598"/>
                <a:gd name="connsiteX142" fmla="*/ 557328 w 1729902"/>
                <a:gd name="connsiteY142" fmla="*/ 208240 h 428598"/>
                <a:gd name="connsiteX143" fmla="*/ 537308 w 1729902"/>
                <a:gd name="connsiteY143" fmla="*/ 256430 h 428598"/>
                <a:gd name="connsiteX144" fmla="*/ 489015 w 1729902"/>
                <a:gd name="connsiteY144" fmla="*/ 276430 h 428598"/>
                <a:gd name="connsiteX145" fmla="*/ 1626847 w 1729902"/>
                <a:gd name="connsiteY145" fmla="*/ 89125 h 428598"/>
                <a:gd name="connsiteX146" fmla="*/ 1617152 w 1729902"/>
                <a:gd name="connsiteY146" fmla="*/ 90889 h 428598"/>
                <a:gd name="connsiteX147" fmla="*/ 1608930 w 1729902"/>
                <a:gd name="connsiteY147" fmla="*/ 96313 h 428598"/>
                <a:gd name="connsiteX148" fmla="*/ 1603511 w 1729902"/>
                <a:gd name="connsiteY148" fmla="*/ 104523 h 428598"/>
                <a:gd name="connsiteX149" fmla="*/ 1601760 w 1729902"/>
                <a:gd name="connsiteY149" fmla="*/ 114197 h 428598"/>
                <a:gd name="connsiteX150" fmla="*/ 1601147 w 1729902"/>
                <a:gd name="connsiteY150" fmla="*/ 300721 h 428598"/>
                <a:gd name="connsiteX151" fmla="*/ 1602677 w 1729902"/>
                <a:gd name="connsiteY151" fmla="*/ 310576 h 428598"/>
                <a:gd name="connsiteX152" fmla="*/ 1608061 w 1729902"/>
                <a:gd name="connsiteY152" fmla="*/ 318977 h 428598"/>
                <a:gd name="connsiteX153" fmla="*/ 1616387 w 1729902"/>
                <a:gd name="connsiteY153" fmla="*/ 324492 h 428598"/>
                <a:gd name="connsiteX154" fmla="*/ 1626238 w 1729902"/>
                <a:gd name="connsiteY154" fmla="*/ 326184 h 428598"/>
                <a:gd name="connsiteX155" fmla="*/ 1651764 w 1729902"/>
                <a:gd name="connsiteY155" fmla="*/ 300721 h 428598"/>
                <a:gd name="connsiteX156" fmla="*/ 1652373 w 1729902"/>
                <a:gd name="connsiteY156" fmla="*/ 114197 h 428598"/>
                <a:gd name="connsiteX157" fmla="*/ 1650773 w 1729902"/>
                <a:gd name="connsiteY157" fmla="*/ 104309 h 428598"/>
                <a:gd name="connsiteX158" fmla="*/ 1645255 w 1729902"/>
                <a:gd name="connsiteY158" fmla="*/ 95942 h 428598"/>
                <a:gd name="connsiteX159" fmla="*/ 1636785 w 1729902"/>
                <a:gd name="connsiteY159" fmla="*/ 90566 h 428598"/>
                <a:gd name="connsiteX160" fmla="*/ 1626847 w 1729902"/>
                <a:gd name="connsiteY160" fmla="*/ 89125 h 428598"/>
                <a:gd name="connsiteX161" fmla="*/ 307559 w 1729902"/>
                <a:gd name="connsiteY161" fmla="*/ 88040 h 428598"/>
                <a:gd name="connsiteX162" fmla="*/ 297857 w 1729902"/>
                <a:gd name="connsiteY162" fmla="*/ 89804 h 428598"/>
                <a:gd name="connsiteX163" fmla="*/ 289628 w 1729902"/>
                <a:gd name="connsiteY163" fmla="*/ 95226 h 428598"/>
                <a:gd name="connsiteX164" fmla="*/ 284194 w 1729902"/>
                <a:gd name="connsiteY164" fmla="*/ 103435 h 428598"/>
                <a:gd name="connsiteX165" fmla="*/ 282425 w 1729902"/>
                <a:gd name="connsiteY165" fmla="*/ 113113 h 428598"/>
                <a:gd name="connsiteX166" fmla="*/ 282425 w 1729902"/>
                <a:gd name="connsiteY166" fmla="*/ 299941 h 428598"/>
                <a:gd name="connsiteX167" fmla="*/ 283955 w 1729902"/>
                <a:gd name="connsiteY167" fmla="*/ 309806 h 428598"/>
                <a:gd name="connsiteX168" fmla="*/ 289351 w 1729902"/>
                <a:gd name="connsiteY168" fmla="*/ 318213 h 428598"/>
                <a:gd name="connsiteX169" fmla="*/ 297694 w 1729902"/>
                <a:gd name="connsiteY169" fmla="*/ 323726 h 428598"/>
                <a:gd name="connsiteX170" fmla="*/ 307559 w 1729902"/>
                <a:gd name="connsiteY170" fmla="*/ 325403 h 428598"/>
                <a:gd name="connsiteX171" fmla="*/ 333040 w 1729902"/>
                <a:gd name="connsiteY171" fmla="*/ 299941 h 428598"/>
                <a:gd name="connsiteX172" fmla="*/ 333040 w 1729902"/>
                <a:gd name="connsiteY172" fmla="*/ 113113 h 428598"/>
                <a:gd name="connsiteX173" fmla="*/ 331445 w 1729902"/>
                <a:gd name="connsiteY173" fmla="*/ 103235 h 428598"/>
                <a:gd name="connsiteX174" fmla="*/ 325937 w 1729902"/>
                <a:gd name="connsiteY174" fmla="*/ 94875 h 428598"/>
                <a:gd name="connsiteX175" fmla="*/ 317481 w 1729902"/>
                <a:gd name="connsiteY175" fmla="*/ 89496 h 428598"/>
                <a:gd name="connsiteX176" fmla="*/ 307559 w 1729902"/>
                <a:gd name="connsiteY176" fmla="*/ 88040 h 428598"/>
                <a:gd name="connsiteX177" fmla="*/ 679474 w 1729902"/>
                <a:gd name="connsiteY177" fmla="*/ 88691 h 428598"/>
                <a:gd name="connsiteX178" fmla="*/ 669779 w 1729902"/>
                <a:gd name="connsiteY178" fmla="*/ 90455 h 428598"/>
                <a:gd name="connsiteX179" fmla="*/ 661557 w 1729902"/>
                <a:gd name="connsiteY179" fmla="*/ 95879 h 428598"/>
                <a:gd name="connsiteX180" fmla="*/ 656134 w 1729902"/>
                <a:gd name="connsiteY180" fmla="*/ 104089 h 428598"/>
                <a:gd name="connsiteX181" fmla="*/ 654382 w 1729902"/>
                <a:gd name="connsiteY181" fmla="*/ 113763 h 428598"/>
                <a:gd name="connsiteX182" fmla="*/ 654382 w 1729902"/>
                <a:gd name="connsiteY182" fmla="*/ 299941 h 428598"/>
                <a:gd name="connsiteX183" fmla="*/ 655908 w 1729902"/>
                <a:gd name="connsiteY183" fmla="*/ 309795 h 428598"/>
                <a:gd name="connsiteX184" fmla="*/ 661296 w 1729902"/>
                <a:gd name="connsiteY184" fmla="*/ 318196 h 428598"/>
                <a:gd name="connsiteX185" fmla="*/ 669622 w 1729902"/>
                <a:gd name="connsiteY185" fmla="*/ 323712 h 428598"/>
                <a:gd name="connsiteX186" fmla="*/ 679474 w 1729902"/>
                <a:gd name="connsiteY186" fmla="*/ 325403 h 428598"/>
                <a:gd name="connsiteX187" fmla="*/ 705000 w 1729902"/>
                <a:gd name="connsiteY187" fmla="*/ 299941 h 428598"/>
                <a:gd name="connsiteX188" fmla="*/ 705000 w 1729902"/>
                <a:gd name="connsiteY188" fmla="*/ 113763 h 428598"/>
                <a:gd name="connsiteX189" fmla="*/ 703440 w 1729902"/>
                <a:gd name="connsiteY189" fmla="*/ 103835 h 428598"/>
                <a:gd name="connsiteX190" fmla="*/ 697930 w 1729902"/>
                <a:gd name="connsiteY190" fmla="*/ 95421 h 428598"/>
                <a:gd name="connsiteX191" fmla="*/ 689443 w 1729902"/>
                <a:gd name="connsiteY191" fmla="*/ 90012 h 428598"/>
                <a:gd name="connsiteX192" fmla="*/ 679474 w 1729902"/>
                <a:gd name="connsiteY192" fmla="*/ 88561 h 428598"/>
                <a:gd name="connsiteX193" fmla="*/ 679474 w 1729902"/>
                <a:gd name="connsiteY193" fmla="*/ 88691 h 428598"/>
                <a:gd name="connsiteX194" fmla="*/ 836319 w 1729902"/>
                <a:gd name="connsiteY194" fmla="*/ 275996 h 428598"/>
                <a:gd name="connsiteX195" fmla="*/ 809446 w 1729902"/>
                <a:gd name="connsiteY195" fmla="*/ 250924 h 428598"/>
                <a:gd name="connsiteX196" fmla="*/ 809446 w 1729902"/>
                <a:gd name="connsiteY196" fmla="*/ 143434 h 428598"/>
                <a:gd name="connsiteX197" fmla="*/ 822492 w 1729902"/>
                <a:gd name="connsiteY197" fmla="*/ 143434 h 428598"/>
                <a:gd name="connsiteX198" fmla="*/ 832234 w 1729902"/>
                <a:gd name="connsiteY198" fmla="*/ 141763 h 428598"/>
                <a:gd name="connsiteX199" fmla="*/ 840504 w 1729902"/>
                <a:gd name="connsiteY199" fmla="*/ 136361 h 428598"/>
                <a:gd name="connsiteX200" fmla="*/ 845932 w 1729902"/>
                <a:gd name="connsiteY200" fmla="*/ 128121 h 428598"/>
                <a:gd name="connsiteX201" fmla="*/ 847622 w 1729902"/>
                <a:gd name="connsiteY201" fmla="*/ 118405 h 428598"/>
                <a:gd name="connsiteX202" fmla="*/ 822492 w 1729902"/>
                <a:gd name="connsiteY202" fmla="*/ 92899 h 428598"/>
                <a:gd name="connsiteX203" fmla="*/ 809446 w 1729902"/>
                <a:gd name="connsiteY203" fmla="*/ 92899 h 428598"/>
                <a:gd name="connsiteX204" fmla="*/ 809446 w 1729902"/>
                <a:gd name="connsiteY204" fmla="*/ 25577 h 428598"/>
                <a:gd name="connsiteX205" fmla="*/ 783920 w 1729902"/>
                <a:gd name="connsiteY205" fmla="*/ 114 h 428598"/>
                <a:gd name="connsiteX206" fmla="*/ 774069 w 1729902"/>
                <a:gd name="connsiteY206" fmla="*/ 1805 h 428598"/>
                <a:gd name="connsiteX207" fmla="*/ 765742 w 1729902"/>
                <a:gd name="connsiteY207" fmla="*/ 7321 h 428598"/>
                <a:gd name="connsiteX208" fmla="*/ 760358 w 1729902"/>
                <a:gd name="connsiteY208" fmla="*/ 15722 h 428598"/>
                <a:gd name="connsiteX209" fmla="*/ 758829 w 1729902"/>
                <a:gd name="connsiteY209" fmla="*/ 25577 h 428598"/>
                <a:gd name="connsiteX210" fmla="*/ 758829 w 1729902"/>
                <a:gd name="connsiteY210" fmla="*/ 93506 h 428598"/>
                <a:gd name="connsiteX211" fmla="*/ 739091 w 1729902"/>
                <a:gd name="connsiteY211" fmla="*/ 118405 h 428598"/>
                <a:gd name="connsiteX212" fmla="*/ 744306 w 1729902"/>
                <a:gd name="connsiteY212" fmla="*/ 134497 h 428598"/>
                <a:gd name="connsiteX213" fmla="*/ 758829 w 1729902"/>
                <a:gd name="connsiteY213" fmla="*/ 143217 h 428598"/>
                <a:gd name="connsiteX214" fmla="*/ 758829 w 1729902"/>
                <a:gd name="connsiteY214" fmla="*/ 251444 h 428598"/>
                <a:gd name="connsiteX215" fmla="*/ 828406 w 1729902"/>
                <a:gd name="connsiteY215" fmla="*/ 325186 h 428598"/>
                <a:gd name="connsiteX216" fmla="*/ 857626 w 1729902"/>
                <a:gd name="connsiteY216" fmla="*/ 301762 h 428598"/>
                <a:gd name="connsiteX217" fmla="*/ 836363 w 1729902"/>
                <a:gd name="connsiteY217" fmla="*/ 275736 h 428598"/>
                <a:gd name="connsiteX218" fmla="*/ 836319 w 1729902"/>
                <a:gd name="connsiteY218" fmla="*/ 275996 h 428598"/>
                <a:gd name="connsiteX219" fmla="*/ 1181837 w 1729902"/>
                <a:gd name="connsiteY219" fmla="*/ 71 h 428598"/>
                <a:gd name="connsiteX220" fmla="*/ 1172055 w 1729902"/>
                <a:gd name="connsiteY220" fmla="*/ 1678 h 428598"/>
                <a:gd name="connsiteX221" fmla="*/ 1163750 w 1729902"/>
                <a:gd name="connsiteY221" fmla="*/ 7087 h 428598"/>
                <a:gd name="connsiteX222" fmla="*/ 1158340 w 1729902"/>
                <a:gd name="connsiteY222" fmla="*/ 15379 h 428598"/>
                <a:gd name="connsiteX223" fmla="*/ 1156750 w 1729902"/>
                <a:gd name="connsiteY223" fmla="*/ 25143 h 428598"/>
                <a:gd name="connsiteX224" fmla="*/ 1156750 w 1729902"/>
                <a:gd name="connsiteY224" fmla="*/ 299941 h 428598"/>
                <a:gd name="connsiteX225" fmla="*/ 1158275 w 1729902"/>
                <a:gd name="connsiteY225" fmla="*/ 309795 h 428598"/>
                <a:gd name="connsiteX226" fmla="*/ 1163659 w 1729902"/>
                <a:gd name="connsiteY226" fmla="*/ 318196 h 428598"/>
                <a:gd name="connsiteX227" fmla="*/ 1171985 w 1729902"/>
                <a:gd name="connsiteY227" fmla="*/ 323712 h 428598"/>
                <a:gd name="connsiteX228" fmla="*/ 1181837 w 1729902"/>
                <a:gd name="connsiteY228" fmla="*/ 325403 h 428598"/>
                <a:gd name="connsiteX229" fmla="*/ 1207363 w 1729902"/>
                <a:gd name="connsiteY229" fmla="*/ 299941 h 428598"/>
                <a:gd name="connsiteX230" fmla="*/ 1207363 w 1729902"/>
                <a:gd name="connsiteY230" fmla="*/ 25143 h 428598"/>
                <a:gd name="connsiteX231" fmla="*/ 1181837 w 1729902"/>
                <a:gd name="connsiteY231" fmla="*/ 71 h 428598"/>
                <a:gd name="connsiteX232" fmla="*/ 1329682 w 1729902"/>
                <a:gd name="connsiteY232" fmla="*/ 251184 h 428598"/>
                <a:gd name="connsiteX233" fmla="*/ 1326897 w 1729902"/>
                <a:gd name="connsiteY233" fmla="*/ 247497 h 428598"/>
                <a:gd name="connsiteX234" fmla="*/ 1319070 w 1729902"/>
                <a:gd name="connsiteY234" fmla="*/ 239993 h 428598"/>
                <a:gd name="connsiteX235" fmla="*/ 1315942 w 1729902"/>
                <a:gd name="connsiteY235" fmla="*/ 237824 h 428598"/>
                <a:gd name="connsiteX236" fmla="*/ 1298286 w 1729902"/>
                <a:gd name="connsiteY236" fmla="*/ 230797 h 428598"/>
                <a:gd name="connsiteX237" fmla="*/ 1290242 w 1729902"/>
                <a:gd name="connsiteY237" fmla="*/ 230146 h 428598"/>
                <a:gd name="connsiteX238" fmla="*/ 1267241 w 1729902"/>
                <a:gd name="connsiteY238" fmla="*/ 236045 h 428598"/>
                <a:gd name="connsiteX239" fmla="*/ 1263325 w 1729902"/>
                <a:gd name="connsiteY239" fmla="*/ 238431 h 428598"/>
                <a:gd name="connsiteX240" fmla="*/ 1247838 w 1729902"/>
                <a:gd name="connsiteY240" fmla="*/ 255588 h 428598"/>
                <a:gd name="connsiteX241" fmla="*/ 1242236 w 1729902"/>
                <a:gd name="connsiteY241" fmla="*/ 277992 h 428598"/>
                <a:gd name="connsiteX242" fmla="*/ 1247838 w 1729902"/>
                <a:gd name="connsiteY242" fmla="*/ 300395 h 428598"/>
                <a:gd name="connsiteX243" fmla="*/ 1263325 w 1729902"/>
                <a:gd name="connsiteY243" fmla="*/ 317552 h 428598"/>
                <a:gd name="connsiteX244" fmla="*/ 1267241 w 1729902"/>
                <a:gd name="connsiteY244" fmla="*/ 319938 h 428598"/>
                <a:gd name="connsiteX245" fmla="*/ 1294614 w 1729902"/>
                <a:gd name="connsiteY245" fmla="*/ 325476 h 428598"/>
                <a:gd name="connsiteX246" fmla="*/ 1320418 w 1729902"/>
                <a:gd name="connsiteY246" fmla="*/ 314819 h 428598"/>
                <a:gd name="connsiteX247" fmla="*/ 1326897 w 1729902"/>
                <a:gd name="connsiteY247" fmla="*/ 308312 h 428598"/>
                <a:gd name="connsiteX248" fmla="*/ 1329682 w 1729902"/>
                <a:gd name="connsiteY248" fmla="*/ 304669 h 428598"/>
                <a:gd name="connsiteX249" fmla="*/ 1334028 w 1729902"/>
                <a:gd name="connsiteY249" fmla="*/ 296557 h 428598"/>
                <a:gd name="connsiteX250" fmla="*/ 1337604 w 1729902"/>
                <a:gd name="connsiteY250" fmla="*/ 273386 h 428598"/>
                <a:gd name="connsiteX251" fmla="*/ 1329682 w 1729902"/>
                <a:gd name="connsiteY251" fmla="*/ 251314 h 428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1729902" h="428598">
                  <a:moveTo>
                    <a:pt x="1682722" y="96586"/>
                  </a:moveTo>
                  <a:lnTo>
                    <a:pt x="1674027" y="96586"/>
                  </a:lnTo>
                  <a:lnTo>
                    <a:pt x="1674027" y="91814"/>
                  </a:lnTo>
                  <a:lnTo>
                    <a:pt x="1695768" y="91814"/>
                  </a:lnTo>
                  <a:lnTo>
                    <a:pt x="1695768" y="96586"/>
                  </a:lnTo>
                  <a:lnTo>
                    <a:pt x="1687289" y="96586"/>
                  </a:lnTo>
                  <a:lnTo>
                    <a:pt x="1687289" y="122613"/>
                  </a:lnTo>
                  <a:lnTo>
                    <a:pt x="1682331" y="122613"/>
                  </a:lnTo>
                  <a:lnTo>
                    <a:pt x="1682722" y="96586"/>
                  </a:lnTo>
                  <a:close/>
                  <a:moveTo>
                    <a:pt x="1700118" y="91814"/>
                  </a:moveTo>
                  <a:lnTo>
                    <a:pt x="1707814" y="91814"/>
                  </a:lnTo>
                  <a:lnTo>
                    <a:pt x="1715032" y="113503"/>
                  </a:lnTo>
                  <a:lnTo>
                    <a:pt x="1722163" y="91814"/>
                  </a:lnTo>
                  <a:lnTo>
                    <a:pt x="1729902" y="91814"/>
                  </a:lnTo>
                  <a:lnTo>
                    <a:pt x="1729902" y="122526"/>
                  </a:lnTo>
                  <a:lnTo>
                    <a:pt x="1725035" y="122526"/>
                  </a:lnTo>
                  <a:lnTo>
                    <a:pt x="1725035" y="97844"/>
                  </a:lnTo>
                  <a:lnTo>
                    <a:pt x="1716596" y="122526"/>
                  </a:lnTo>
                  <a:lnTo>
                    <a:pt x="1713163" y="122526"/>
                  </a:lnTo>
                  <a:lnTo>
                    <a:pt x="1704859" y="97844"/>
                  </a:lnTo>
                  <a:lnTo>
                    <a:pt x="1704859" y="122526"/>
                  </a:lnTo>
                  <a:lnTo>
                    <a:pt x="1700161" y="122526"/>
                  </a:lnTo>
                  <a:lnTo>
                    <a:pt x="1700118" y="91814"/>
                  </a:lnTo>
                  <a:close/>
                  <a:moveTo>
                    <a:pt x="1531574" y="90860"/>
                  </a:moveTo>
                  <a:cubicBezTo>
                    <a:pt x="1525534" y="90641"/>
                    <a:pt x="1519628" y="92688"/>
                    <a:pt x="1515022" y="96598"/>
                  </a:cubicBezTo>
                  <a:cubicBezTo>
                    <a:pt x="1510415" y="100509"/>
                    <a:pt x="1507447" y="105999"/>
                    <a:pt x="1506704" y="111985"/>
                  </a:cubicBezTo>
                  <a:cubicBezTo>
                    <a:pt x="1490004" y="94894"/>
                    <a:pt x="1465699" y="85525"/>
                    <a:pt x="1437783" y="85525"/>
                  </a:cubicBezTo>
                  <a:cubicBezTo>
                    <a:pt x="1421605" y="85409"/>
                    <a:pt x="1405569" y="88509"/>
                    <a:pt x="1390608" y="94645"/>
                  </a:cubicBezTo>
                  <a:cubicBezTo>
                    <a:pt x="1375646" y="100781"/>
                    <a:pt x="1362061" y="109830"/>
                    <a:pt x="1350646" y="121263"/>
                  </a:cubicBezTo>
                  <a:cubicBezTo>
                    <a:pt x="1339230" y="132696"/>
                    <a:pt x="1330208" y="146283"/>
                    <a:pt x="1324116" y="161232"/>
                  </a:cubicBezTo>
                  <a:cubicBezTo>
                    <a:pt x="1318023" y="176181"/>
                    <a:pt x="1314977" y="192191"/>
                    <a:pt x="1315159" y="208327"/>
                  </a:cubicBezTo>
                  <a:cubicBezTo>
                    <a:pt x="1315159" y="210019"/>
                    <a:pt x="1315159" y="211623"/>
                    <a:pt x="1315159" y="213272"/>
                  </a:cubicBezTo>
                  <a:cubicBezTo>
                    <a:pt x="1328183" y="218356"/>
                    <a:pt x="1339369" y="227239"/>
                    <a:pt x="1347260" y="238760"/>
                  </a:cubicBezTo>
                  <a:cubicBezTo>
                    <a:pt x="1355148" y="250282"/>
                    <a:pt x="1359372" y="263908"/>
                    <a:pt x="1359380" y="277861"/>
                  </a:cubicBezTo>
                  <a:cubicBezTo>
                    <a:pt x="1359372" y="285544"/>
                    <a:pt x="1358064" y="293170"/>
                    <a:pt x="1355513" y="300417"/>
                  </a:cubicBezTo>
                  <a:cubicBezTo>
                    <a:pt x="1378301" y="320080"/>
                    <a:pt x="1407525" y="330728"/>
                    <a:pt x="1437653" y="330348"/>
                  </a:cubicBezTo>
                  <a:cubicBezTo>
                    <a:pt x="1463201" y="329742"/>
                    <a:pt x="1487658" y="319873"/>
                    <a:pt x="1506444" y="302587"/>
                  </a:cubicBezTo>
                  <a:cubicBezTo>
                    <a:pt x="1506735" y="308916"/>
                    <a:pt x="1509533" y="314871"/>
                    <a:pt x="1514218" y="319148"/>
                  </a:cubicBezTo>
                  <a:cubicBezTo>
                    <a:pt x="1518907" y="323425"/>
                    <a:pt x="1525099" y="325674"/>
                    <a:pt x="1531444" y="325403"/>
                  </a:cubicBezTo>
                  <a:cubicBezTo>
                    <a:pt x="1547188" y="325403"/>
                    <a:pt x="1556926" y="315643"/>
                    <a:pt x="1556926" y="299941"/>
                  </a:cubicBezTo>
                  <a:lnTo>
                    <a:pt x="1556926" y="115932"/>
                  </a:lnTo>
                  <a:cubicBezTo>
                    <a:pt x="1557143" y="112554"/>
                    <a:pt x="1556626" y="109169"/>
                    <a:pt x="1555418" y="106006"/>
                  </a:cubicBezTo>
                  <a:cubicBezTo>
                    <a:pt x="1554210" y="102843"/>
                    <a:pt x="1552333" y="99976"/>
                    <a:pt x="1549917" y="97599"/>
                  </a:cubicBezTo>
                  <a:cubicBezTo>
                    <a:pt x="1547501" y="95222"/>
                    <a:pt x="1544602" y="93390"/>
                    <a:pt x="1541417" y="92228"/>
                  </a:cubicBezTo>
                  <a:cubicBezTo>
                    <a:pt x="1538227" y="91065"/>
                    <a:pt x="1534829" y="90598"/>
                    <a:pt x="1531444" y="90860"/>
                  </a:cubicBezTo>
                  <a:lnTo>
                    <a:pt x="1531574" y="90860"/>
                  </a:lnTo>
                  <a:close/>
                  <a:moveTo>
                    <a:pt x="1437436" y="276430"/>
                  </a:moveTo>
                  <a:cubicBezTo>
                    <a:pt x="1423899" y="276447"/>
                    <a:pt x="1410667" y="272459"/>
                    <a:pt x="1399403" y="264970"/>
                  </a:cubicBezTo>
                  <a:cubicBezTo>
                    <a:pt x="1388144" y="257480"/>
                    <a:pt x="1379365" y="246828"/>
                    <a:pt x="1374177" y="234358"/>
                  </a:cubicBezTo>
                  <a:cubicBezTo>
                    <a:pt x="1368984" y="221890"/>
                    <a:pt x="1367619" y="208165"/>
                    <a:pt x="1370253" y="194922"/>
                  </a:cubicBezTo>
                  <a:cubicBezTo>
                    <a:pt x="1372886" y="181680"/>
                    <a:pt x="1379400" y="169514"/>
                    <a:pt x="1388965" y="159964"/>
                  </a:cubicBezTo>
                  <a:cubicBezTo>
                    <a:pt x="1398534" y="150415"/>
                    <a:pt x="1410723" y="143911"/>
                    <a:pt x="1423999" y="141276"/>
                  </a:cubicBezTo>
                  <a:cubicBezTo>
                    <a:pt x="1437270" y="138641"/>
                    <a:pt x="1451029" y="139993"/>
                    <a:pt x="1463531" y="145162"/>
                  </a:cubicBezTo>
                  <a:cubicBezTo>
                    <a:pt x="1476033" y="150330"/>
                    <a:pt x="1486719" y="159083"/>
                    <a:pt x="1494232" y="170311"/>
                  </a:cubicBezTo>
                  <a:cubicBezTo>
                    <a:pt x="1501750" y="181539"/>
                    <a:pt x="1505757" y="194739"/>
                    <a:pt x="1505748" y="208240"/>
                  </a:cubicBezTo>
                  <a:cubicBezTo>
                    <a:pt x="1505735" y="226314"/>
                    <a:pt x="1498535" y="243645"/>
                    <a:pt x="1485728" y="256430"/>
                  </a:cubicBezTo>
                  <a:cubicBezTo>
                    <a:pt x="1472922" y="269214"/>
                    <a:pt x="1455552" y="276407"/>
                    <a:pt x="1437436" y="276430"/>
                  </a:cubicBezTo>
                  <a:close/>
                  <a:moveTo>
                    <a:pt x="1082784" y="90860"/>
                  </a:moveTo>
                  <a:cubicBezTo>
                    <a:pt x="1076743" y="90641"/>
                    <a:pt x="1070842" y="92690"/>
                    <a:pt x="1066244" y="96602"/>
                  </a:cubicBezTo>
                  <a:cubicBezTo>
                    <a:pt x="1061651" y="100513"/>
                    <a:pt x="1058692" y="106003"/>
                    <a:pt x="1057953" y="111985"/>
                  </a:cubicBezTo>
                  <a:cubicBezTo>
                    <a:pt x="1041257" y="94894"/>
                    <a:pt x="1016948" y="85525"/>
                    <a:pt x="989032" y="85525"/>
                  </a:cubicBezTo>
                  <a:cubicBezTo>
                    <a:pt x="972857" y="85409"/>
                    <a:pt x="956818" y="88509"/>
                    <a:pt x="941856" y="94645"/>
                  </a:cubicBezTo>
                  <a:cubicBezTo>
                    <a:pt x="926894" y="100781"/>
                    <a:pt x="913310" y="109830"/>
                    <a:pt x="901894" y="121263"/>
                  </a:cubicBezTo>
                  <a:cubicBezTo>
                    <a:pt x="890478" y="132696"/>
                    <a:pt x="881461" y="146283"/>
                    <a:pt x="875369" y="161232"/>
                  </a:cubicBezTo>
                  <a:cubicBezTo>
                    <a:pt x="869276" y="176181"/>
                    <a:pt x="866230" y="192191"/>
                    <a:pt x="866408" y="208327"/>
                  </a:cubicBezTo>
                  <a:cubicBezTo>
                    <a:pt x="866408" y="277731"/>
                    <a:pt x="919111" y="330348"/>
                    <a:pt x="989032" y="330348"/>
                  </a:cubicBezTo>
                  <a:cubicBezTo>
                    <a:pt x="1014584" y="329742"/>
                    <a:pt x="1039037" y="319873"/>
                    <a:pt x="1057823" y="302587"/>
                  </a:cubicBezTo>
                  <a:cubicBezTo>
                    <a:pt x="1058118" y="308908"/>
                    <a:pt x="1060908" y="314857"/>
                    <a:pt x="1065584" y="319132"/>
                  </a:cubicBezTo>
                  <a:cubicBezTo>
                    <a:pt x="1070260" y="323407"/>
                    <a:pt x="1076443" y="325662"/>
                    <a:pt x="1082784" y="325403"/>
                  </a:cubicBezTo>
                  <a:cubicBezTo>
                    <a:pt x="1098523" y="325403"/>
                    <a:pt x="1108305" y="315643"/>
                    <a:pt x="1108305" y="299941"/>
                  </a:cubicBezTo>
                  <a:lnTo>
                    <a:pt x="1108305" y="115932"/>
                  </a:lnTo>
                  <a:cubicBezTo>
                    <a:pt x="1108305" y="100707"/>
                    <a:pt x="1098306" y="90860"/>
                    <a:pt x="1082784" y="90860"/>
                  </a:cubicBezTo>
                  <a:close/>
                  <a:moveTo>
                    <a:pt x="986902" y="276430"/>
                  </a:moveTo>
                  <a:cubicBezTo>
                    <a:pt x="973366" y="276447"/>
                    <a:pt x="960134" y="272459"/>
                    <a:pt x="948874" y="264970"/>
                  </a:cubicBezTo>
                  <a:cubicBezTo>
                    <a:pt x="937610" y="257480"/>
                    <a:pt x="928832" y="246828"/>
                    <a:pt x="923644" y="234358"/>
                  </a:cubicBezTo>
                  <a:cubicBezTo>
                    <a:pt x="918455" y="221890"/>
                    <a:pt x="917091" y="208165"/>
                    <a:pt x="919720" y="194922"/>
                  </a:cubicBezTo>
                  <a:cubicBezTo>
                    <a:pt x="922353" y="181680"/>
                    <a:pt x="928867" y="169514"/>
                    <a:pt x="938432" y="159964"/>
                  </a:cubicBezTo>
                  <a:cubicBezTo>
                    <a:pt x="948001" y="150415"/>
                    <a:pt x="960190" y="143911"/>
                    <a:pt x="973466" y="141276"/>
                  </a:cubicBezTo>
                  <a:cubicBezTo>
                    <a:pt x="986737" y="138641"/>
                    <a:pt x="1000495" y="139993"/>
                    <a:pt x="1012998" y="145162"/>
                  </a:cubicBezTo>
                  <a:cubicBezTo>
                    <a:pt x="1025504" y="150330"/>
                    <a:pt x="1036186" y="159083"/>
                    <a:pt x="1043704" y="170311"/>
                  </a:cubicBezTo>
                  <a:cubicBezTo>
                    <a:pt x="1051217" y="181539"/>
                    <a:pt x="1055224" y="194739"/>
                    <a:pt x="1055215" y="208240"/>
                  </a:cubicBezTo>
                  <a:cubicBezTo>
                    <a:pt x="1055202" y="226314"/>
                    <a:pt x="1048001" y="243645"/>
                    <a:pt x="1035195" y="256430"/>
                  </a:cubicBezTo>
                  <a:cubicBezTo>
                    <a:pt x="1022388" y="269214"/>
                    <a:pt x="1005019" y="276407"/>
                    <a:pt x="986902" y="276430"/>
                  </a:cubicBezTo>
                  <a:close/>
                  <a:moveTo>
                    <a:pt x="216374" y="71"/>
                  </a:moveTo>
                  <a:cubicBezTo>
                    <a:pt x="212991" y="-191"/>
                    <a:pt x="209591" y="275"/>
                    <a:pt x="206404" y="1438"/>
                  </a:cubicBezTo>
                  <a:cubicBezTo>
                    <a:pt x="203217" y="2601"/>
                    <a:pt x="200317" y="4433"/>
                    <a:pt x="197902" y="6810"/>
                  </a:cubicBezTo>
                  <a:cubicBezTo>
                    <a:pt x="195485" y="9187"/>
                    <a:pt x="193610" y="12054"/>
                    <a:pt x="192400" y="15217"/>
                  </a:cubicBezTo>
                  <a:cubicBezTo>
                    <a:pt x="191191" y="18380"/>
                    <a:pt x="190677" y="21765"/>
                    <a:pt x="190893" y="25143"/>
                  </a:cubicBezTo>
                  <a:lnTo>
                    <a:pt x="190893" y="112332"/>
                  </a:lnTo>
                  <a:cubicBezTo>
                    <a:pt x="174847" y="94981"/>
                    <a:pt x="150801" y="85525"/>
                    <a:pt x="122580" y="85525"/>
                  </a:cubicBezTo>
                  <a:cubicBezTo>
                    <a:pt x="57355" y="85525"/>
                    <a:pt x="0" y="142913"/>
                    <a:pt x="0" y="208327"/>
                  </a:cubicBezTo>
                  <a:cubicBezTo>
                    <a:pt x="0" y="273740"/>
                    <a:pt x="57311" y="330348"/>
                    <a:pt x="122580" y="330348"/>
                  </a:cubicBezTo>
                  <a:cubicBezTo>
                    <a:pt x="148972" y="329717"/>
                    <a:pt x="174144" y="319130"/>
                    <a:pt x="193023" y="300721"/>
                  </a:cubicBezTo>
                  <a:cubicBezTo>
                    <a:pt x="195850" y="316684"/>
                    <a:pt x="205503" y="325403"/>
                    <a:pt x="220505" y="325403"/>
                  </a:cubicBezTo>
                  <a:cubicBezTo>
                    <a:pt x="223428" y="325421"/>
                    <a:pt x="226323" y="324839"/>
                    <a:pt x="229010" y="323693"/>
                  </a:cubicBezTo>
                  <a:cubicBezTo>
                    <a:pt x="231697" y="322547"/>
                    <a:pt x="234119" y="320861"/>
                    <a:pt x="236126" y="318742"/>
                  </a:cubicBezTo>
                  <a:cubicBezTo>
                    <a:pt x="238133" y="316622"/>
                    <a:pt x="239680" y="314114"/>
                    <a:pt x="240673" y="311372"/>
                  </a:cubicBezTo>
                  <a:cubicBezTo>
                    <a:pt x="241667" y="308629"/>
                    <a:pt x="242084" y="305713"/>
                    <a:pt x="241899" y="302803"/>
                  </a:cubicBezTo>
                  <a:lnTo>
                    <a:pt x="241899" y="25186"/>
                  </a:lnTo>
                  <a:cubicBezTo>
                    <a:pt x="242065" y="21817"/>
                    <a:pt x="241516" y="18450"/>
                    <a:pt x="240287" y="15306"/>
                  </a:cubicBezTo>
                  <a:cubicBezTo>
                    <a:pt x="239057" y="12163"/>
                    <a:pt x="237176" y="9314"/>
                    <a:pt x="234766" y="6947"/>
                  </a:cubicBezTo>
                  <a:cubicBezTo>
                    <a:pt x="232356" y="4580"/>
                    <a:pt x="229472" y="2747"/>
                    <a:pt x="226302" y="1569"/>
                  </a:cubicBezTo>
                  <a:cubicBezTo>
                    <a:pt x="223132" y="392"/>
                    <a:pt x="219749" y="-104"/>
                    <a:pt x="216374" y="114"/>
                  </a:cubicBezTo>
                  <a:lnTo>
                    <a:pt x="216374" y="71"/>
                  </a:lnTo>
                  <a:close/>
                  <a:moveTo>
                    <a:pt x="122102" y="276430"/>
                  </a:moveTo>
                  <a:cubicBezTo>
                    <a:pt x="108568" y="276447"/>
                    <a:pt x="95333" y="272459"/>
                    <a:pt x="84073" y="264970"/>
                  </a:cubicBezTo>
                  <a:cubicBezTo>
                    <a:pt x="72812" y="257480"/>
                    <a:pt x="64032" y="246828"/>
                    <a:pt x="58843" y="234358"/>
                  </a:cubicBezTo>
                  <a:cubicBezTo>
                    <a:pt x="53654" y="221890"/>
                    <a:pt x="52289" y="208165"/>
                    <a:pt x="54922" y="194922"/>
                  </a:cubicBezTo>
                  <a:cubicBezTo>
                    <a:pt x="57555" y="181680"/>
                    <a:pt x="64067" y="169514"/>
                    <a:pt x="73634" y="159964"/>
                  </a:cubicBezTo>
                  <a:cubicBezTo>
                    <a:pt x="83201" y="150415"/>
                    <a:pt x="95392" y="143911"/>
                    <a:pt x="108665" y="141276"/>
                  </a:cubicBezTo>
                  <a:cubicBezTo>
                    <a:pt x="121939" y="138641"/>
                    <a:pt x="135697" y="139993"/>
                    <a:pt x="148200" y="145162"/>
                  </a:cubicBezTo>
                  <a:cubicBezTo>
                    <a:pt x="160703" y="150330"/>
                    <a:pt x="171388" y="159083"/>
                    <a:pt x="178902" y="170311"/>
                  </a:cubicBezTo>
                  <a:cubicBezTo>
                    <a:pt x="186417" y="181539"/>
                    <a:pt x="190423" y="194739"/>
                    <a:pt x="190415" y="208240"/>
                  </a:cubicBezTo>
                  <a:cubicBezTo>
                    <a:pt x="190403" y="226314"/>
                    <a:pt x="183203" y="243645"/>
                    <a:pt x="170396" y="256430"/>
                  </a:cubicBezTo>
                  <a:cubicBezTo>
                    <a:pt x="157589" y="269214"/>
                    <a:pt x="140220" y="276407"/>
                    <a:pt x="122102" y="276430"/>
                  </a:cubicBezTo>
                  <a:close/>
                  <a:moveTo>
                    <a:pt x="587634" y="90860"/>
                  </a:moveTo>
                  <a:cubicBezTo>
                    <a:pt x="571330" y="90860"/>
                    <a:pt x="562938" y="98495"/>
                    <a:pt x="560805" y="115455"/>
                  </a:cubicBezTo>
                  <a:cubicBezTo>
                    <a:pt x="541906" y="96907"/>
                    <a:pt x="516649" y="86209"/>
                    <a:pt x="490145" y="85525"/>
                  </a:cubicBezTo>
                  <a:cubicBezTo>
                    <a:pt x="424922" y="85525"/>
                    <a:pt x="367522" y="142740"/>
                    <a:pt x="367522" y="207936"/>
                  </a:cubicBezTo>
                  <a:cubicBezTo>
                    <a:pt x="367522" y="273133"/>
                    <a:pt x="424835" y="330348"/>
                    <a:pt x="490145" y="330348"/>
                  </a:cubicBezTo>
                  <a:cubicBezTo>
                    <a:pt x="519626" y="330348"/>
                    <a:pt x="542979" y="321326"/>
                    <a:pt x="557937" y="304322"/>
                  </a:cubicBezTo>
                  <a:cubicBezTo>
                    <a:pt x="556546" y="353642"/>
                    <a:pt x="532715" y="377631"/>
                    <a:pt x="485187" y="377631"/>
                  </a:cubicBezTo>
                  <a:cubicBezTo>
                    <a:pt x="481776" y="377397"/>
                    <a:pt x="478356" y="377900"/>
                    <a:pt x="475153" y="379097"/>
                  </a:cubicBezTo>
                  <a:cubicBezTo>
                    <a:pt x="471950" y="380297"/>
                    <a:pt x="469043" y="382162"/>
                    <a:pt x="466627" y="384576"/>
                  </a:cubicBezTo>
                  <a:cubicBezTo>
                    <a:pt x="464211" y="386986"/>
                    <a:pt x="462338" y="389887"/>
                    <a:pt x="461134" y="393081"/>
                  </a:cubicBezTo>
                  <a:cubicBezTo>
                    <a:pt x="459935" y="396276"/>
                    <a:pt x="459431" y="399688"/>
                    <a:pt x="459665" y="403091"/>
                  </a:cubicBezTo>
                  <a:cubicBezTo>
                    <a:pt x="459665" y="419317"/>
                    <a:pt x="469578" y="428598"/>
                    <a:pt x="486843" y="428598"/>
                  </a:cubicBezTo>
                  <a:cubicBezTo>
                    <a:pt x="577331" y="428598"/>
                    <a:pt x="609423" y="362879"/>
                    <a:pt x="609423" y="306577"/>
                  </a:cubicBezTo>
                  <a:lnTo>
                    <a:pt x="609423" y="113069"/>
                  </a:lnTo>
                  <a:cubicBezTo>
                    <a:pt x="609558" y="110161"/>
                    <a:pt x="609097" y="107254"/>
                    <a:pt x="608059" y="104532"/>
                  </a:cubicBezTo>
                  <a:cubicBezTo>
                    <a:pt x="607020" y="101810"/>
                    <a:pt x="605434" y="99329"/>
                    <a:pt x="603396" y="97246"/>
                  </a:cubicBezTo>
                  <a:cubicBezTo>
                    <a:pt x="601353" y="95162"/>
                    <a:pt x="598907" y="93520"/>
                    <a:pt x="596204" y="92421"/>
                  </a:cubicBezTo>
                  <a:cubicBezTo>
                    <a:pt x="593501" y="91323"/>
                    <a:pt x="590598" y="90791"/>
                    <a:pt x="587678" y="90860"/>
                  </a:cubicBezTo>
                  <a:lnTo>
                    <a:pt x="587634" y="90860"/>
                  </a:lnTo>
                  <a:close/>
                  <a:moveTo>
                    <a:pt x="489015" y="276430"/>
                  </a:moveTo>
                  <a:cubicBezTo>
                    <a:pt x="475483" y="276447"/>
                    <a:pt x="462247" y="272459"/>
                    <a:pt x="450987" y="264970"/>
                  </a:cubicBezTo>
                  <a:cubicBezTo>
                    <a:pt x="439728" y="257480"/>
                    <a:pt x="430945" y="246828"/>
                    <a:pt x="425757" y="234358"/>
                  </a:cubicBezTo>
                  <a:cubicBezTo>
                    <a:pt x="420568" y="221890"/>
                    <a:pt x="419204" y="208165"/>
                    <a:pt x="421837" y="194922"/>
                  </a:cubicBezTo>
                  <a:cubicBezTo>
                    <a:pt x="424470" y="181680"/>
                    <a:pt x="430980" y="169514"/>
                    <a:pt x="440549" y="159964"/>
                  </a:cubicBezTo>
                  <a:cubicBezTo>
                    <a:pt x="450114" y="150415"/>
                    <a:pt x="462308" y="143911"/>
                    <a:pt x="475579" y="141276"/>
                  </a:cubicBezTo>
                  <a:cubicBezTo>
                    <a:pt x="488855" y="138641"/>
                    <a:pt x="502613" y="139993"/>
                    <a:pt x="515115" y="145162"/>
                  </a:cubicBezTo>
                  <a:cubicBezTo>
                    <a:pt x="527617" y="150330"/>
                    <a:pt x="538303" y="159083"/>
                    <a:pt x="545817" y="170311"/>
                  </a:cubicBezTo>
                  <a:cubicBezTo>
                    <a:pt x="553330" y="181539"/>
                    <a:pt x="557337" y="194739"/>
                    <a:pt x="557328" y="208240"/>
                  </a:cubicBezTo>
                  <a:cubicBezTo>
                    <a:pt x="557315" y="226314"/>
                    <a:pt x="550119" y="243645"/>
                    <a:pt x="537308" y="256430"/>
                  </a:cubicBezTo>
                  <a:cubicBezTo>
                    <a:pt x="524502" y="269214"/>
                    <a:pt x="507132" y="276407"/>
                    <a:pt x="489015" y="276430"/>
                  </a:cubicBezTo>
                  <a:close/>
                  <a:moveTo>
                    <a:pt x="1626847" y="89125"/>
                  </a:moveTo>
                  <a:cubicBezTo>
                    <a:pt x="1623531" y="89054"/>
                    <a:pt x="1620233" y="89654"/>
                    <a:pt x="1617152" y="90889"/>
                  </a:cubicBezTo>
                  <a:cubicBezTo>
                    <a:pt x="1614075" y="92125"/>
                    <a:pt x="1611276" y="93969"/>
                    <a:pt x="1608930" y="96313"/>
                  </a:cubicBezTo>
                  <a:cubicBezTo>
                    <a:pt x="1606588" y="98656"/>
                    <a:pt x="1604741" y="101449"/>
                    <a:pt x="1603511" y="104523"/>
                  </a:cubicBezTo>
                  <a:cubicBezTo>
                    <a:pt x="1602277" y="107596"/>
                    <a:pt x="1601681" y="110887"/>
                    <a:pt x="1601760" y="114197"/>
                  </a:cubicBezTo>
                  <a:lnTo>
                    <a:pt x="1601147" y="300721"/>
                  </a:lnTo>
                  <a:cubicBezTo>
                    <a:pt x="1600964" y="304076"/>
                    <a:pt x="1601486" y="307433"/>
                    <a:pt x="1602677" y="310576"/>
                  </a:cubicBezTo>
                  <a:cubicBezTo>
                    <a:pt x="1603867" y="313719"/>
                    <a:pt x="1605701" y="316581"/>
                    <a:pt x="1608061" y="318977"/>
                  </a:cubicBezTo>
                  <a:cubicBezTo>
                    <a:pt x="1610420" y="321373"/>
                    <a:pt x="1613258" y="323252"/>
                    <a:pt x="1616387" y="324492"/>
                  </a:cubicBezTo>
                  <a:cubicBezTo>
                    <a:pt x="1619520" y="325734"/>
                    <a:pt x="1622875" y="326310"/>
                    <a:pt x="1626238" y="326184"/>
                  </a:cubicBezTo>
                  <a:cubicBezTo>
                    <a:pt x="1641978" y="326184"/>
                    <a:pt x="1651764" y="316424"/>
                    <a:pt x="1651764" y="300721"/>
                  </a:cubicBezTo>
                  <a:lnTo>
                    <a:pt x="1652373" y="114197"/>
                  </a:lnTo>
                  <a:cubicBezTo>
                    <a:pt x="1652547" y="110826"/>
                    <a:pt x="1652003" y="107456"/>
                    <a:pt x="1650773" y="104309"/>
                  </a:cubicBezTo>
                  <a:cubicBezTo>
                    <a:pt x="1649548" y="101162"/>
                    <a:pt x="1647666" y="98311"/>
                    <a:pt x="1645255" y="95942"/>
                  </a:cubicBezTo>
                  <a:cubicBezTo>
                    <a:pt x="1642843" y="93574"/>
                    <a:pt x="1639957" y="91741"/>
                    <a:pt x="1636785" y="90566"/>
                  </a:cubicBezTo>
                  <a:cubicBezTo>
                    <a:pt x="1633613" y="89391"/>
                    <a:pt x="1630223" y="88900"/>
                    <a:pt x="1626847" y="89125"/>
                  </a:cubicBezTo>
                  <a:close/>
                  <a:moveTo>
                    <a:pt x="307559" y="88040"/>
                  </a:moveTo>
                  <a:cubicBezTo>
                    <a:pt x="304239" y="87970"/>
                    <a:pt x="300938" y="88570"/>
                    <a:pt x="297857" y="89804"/>
                  </a:cubicBezTo>
                  <a:cubicBezTo>
                    <a:pt x="294776" y="91039"/>
                    <a:pt x="291977" y="92883"/>
                    <a:pt x="289628" y="95226"/>
                  </a:cubicBezTo>
                  <a:cubicBezTo>
                    <a:pt x="287280" y="97568"/>
                    <a:pt x="285432" y="100361"/>
                    <a:pt x="284194" y="103435"/>
                  </a:cubicBezTo>
                  <a:cubicBezTo>
                    <a:pt x="282956" y="106509"/>
                    <a:pt x="282354" y="109801"/>
                    <a:pt x="282425" y="113113"/>
                  </a:cubicBezTo>
                  <a:lnTo>
                    <a:pt x="282425" y="299941"/>
                  </a:lnTo>
                  <a:cubicBezTo>
                    <a:pt x="282241" y="303299"/>
                    <a:pt x="282762" y="306659"/>
                    <a:pt x="283955" y="309806"/>
                  </a:cubicBezTo>
                  <a:cubicBezTo>
                    <a:pt x="285147" y="312952"/>
                    <a:pt x="286986" y="315816"/>
                    <a:pt x="289351" y="318213"/>
                  </a:cubicBezTo>
                  <a:cubicBezTo>
                    <a:pt x="291717" y="320610"/>
                    <a:pt x="294559" y="322487"/>
                    <a:pt x="297694" y="323726"/>
                  </a:cubicBezTo>
                  <a:cubicBezTo>
                    <a:pt x="300829" y="324964"/>
                    <a:pt x="304189" y="325535"/>
                    <a:pt x="307559" y="325403"/>
                  </a:cubicBezTo>
                  <a:cubicBezTo>
                    <a:pt x="323300" y="325403"/>
                    <a:pt x="333040" y="315643"/>
                    <a:pt x="333040" y="299941"/>
                  </a:cubicBezTo>
                  <a:lnTo>
                    <a:pt x="333040" y="113113"/>
                  </a:lnTo>
                  <a:cubicBezTo>
                    <a:pt x="333213" y="109745"/>
                    <a:pt x="332670" y="106379"/>
                    <a:pt x="331445" y="103235"/>
                  </a:cubicBezTo>
                  <a:cubicBezTo>
                    <a:pt x="330221" y="100092"/>
                    <a:pt x="328344" y="97243"/>
                    <a:pt x="325937" y="94875"/>
                  </a:cubicBezTo>
                  <a:cubicBezTo>
                    <a:pt x="323530" y="92507"/>
                    <a:pt x="320649" y="90674"/>
                    <a:pt x="317481" y="89496"/>
                  </a:cubicBezTo>
                  <a:cubicBezTo>
                    <a:pt x="314314" y="88318"/>
                    <a:pt x="310932" y="87822"/>
                    <a:pt x="307559" y="88040"/>
                  </a:cubicBezTo>
                  <a:close/>
                  <a:moveTo>
                    <a:pt x="679474" y="88691"/>
                  </a:moveTo>
                  <a:cubicBezTo>
                    <a:pt x="676154" y="88620"/>
                    <a:pt x="672856" y="89220"/>
                    <a:pt x="669779" y="90455"/>
                  </a:cubicBezTo>
                  <a:cubicBezTo>
                    <a:pt x="666698" y="91691"/>
                    <a:pt x="663904" y="93536"/>
                    <a:pt x="661557" y="95879"/>
                  </a:cubicBezTo>
                  <a:cubicBezTo>
                    <a:pt x="659210" y="98222"/>
                    <a:pt x="657368" y="101015"/>
                    <a:pt x="656134" y="104089"/>
                  </a:cubicBezTo>
                  <a:cubicBezTo>
                    <a:pt x="654904" y="107163"/>
                    <a:pt x="654304" y="110454"/>
                    <a:pt x="654382" y="113763"/>
                  </a:cubicBezTo>
                  <a:lnTo>
                    <a:pt x="654382" y="299941"/>
                  </a:lnTo>
                  <a:cubicBezTo>
                    <a:pt x="654200" y="303296"/>
                    <a:pt x="654717" y="306652"/>
                    <a:pt x="655908" y="309795"/>
                  </a:cubicBezTo>
                  <a:cubicBezTo>
                    <a:pt x="657098" y="312939"/>
                    <a:pt x="658932" y="315800"/>
                    <a:pt x="661296" y="318196"/>
                  </a:cubicBezTo>
                  <a:cubicBezTo>
                    <a:pt x="663656" y="320592"/>
                    <a:pt x="666494" y="322471"/>
                    <a:pt x="669622" y="323712"/>
                  </a:cubicBezTo>
                  <a:cubicBezTo>
                    <a:pt x="672751" y="324953"/>
                    <a:pt x="676106" y="325529"/>
                    <a:pt x="679474" y="325403"/>
                  </a:cubicBezTo>
                  <a:cubicBezTo>
                    <a:pt x="695214" y="325403"/>
                    <a:pt x="705000" y="315643"/>
                    <a:pt x="705000" y="299941"/>
                  </a:cubicBezTo>
                  <a:lnTo>
                    <a:pt x="705000" y="113763"/>
                  </a:lnTo>
                  <a:cubicBezTo>
                    <a:pt x="705191" y="110381"/>
                    <a:pt x="704661" y="106997"/>
                    <a:pt x="703440" y="103835"/>
                  </a:cubicBezTo>
                  <a:cubicBezTo>
                    <a:pt x="702223" y="100672"/>
                    <a:pt x="700346" y="97805"/>
                    <a:pt x="697930" y="95421"/>
                  </a:cubicBezTo>
                  <a:cubicBezTo>
                    <a:pt x="695518" y="93038"/>
                    <a:pt x="692624" y="91194"/>
                    <a:pt x="689443" y="90012"/>
                  </a:cubicBezTo>
                  <a:cubicBezTo>
                    <a:pt x="686257" y="88828"/>
                    <a:pt x="682863" y="88334"/>
                    <a:pt x="679474" y="88561"/>
                  </a:cubicBezTo>
                  <a:lnTo>
                    <a:pt x="679474" y="88691"/>
                  </a:lnTo>
                  <a:close/>
                  <a:moveTo>
                    <a:pt x="836319" y="275996"/>
                  </a:moveTo>
                  <a:cubicBezTo>
                    <a:pt x="819706" y="274608"/>
                    <a:pt x="809446" y="269923"/>
                    <a:pt x="809446" y="250924"/>
                  </a:cubicBezTo>
                  <a:lnTo>
                    <a:pt x="809446" y="143434"/>
                  </a:lnTo>
                  <a:lnTo>
                    <a:pt x="822492" y="143434"/>
                  </a:lnTo>
                  <a:cubicBezTo>
                    <a:pt x="825820" y="143548"/>
                    <a:pt x="829136" y="142980"/>
                    <a:pt x="832234" y="141763"/>
                  </a:cubicBezTo>
                  <a:cubicBezTo>
                    <a:pt x="835333" y="140546"/>
                    <a:pt x="838144" y="138708"/>
                    <a:pt x="840504" y="136361"/>
                  </a:cubicBezTo>
                  <a:cubicBezTo>
                    <a:pt x="842859" y="134014"/>
                    <a:pt x="844706" y="131209"/>
                    <a:pt x="845932" y="128121"/>
                  </a:cubicBezTo>
                  <a:cubicBezTo>
                    <a:pt x="847157" y="125032"/>
                    <a:pt x="847735" y="121725"/>
                    <a:pt x="847622" y="118405"/>
                  </a:cubicBezTo>
                  <a:cubicBezTo>
                    <a:pt x="847622" y="102919"/>
                    <a:pt x="837753" y="92899"/>
                    <a:pt x="822492" y="92899"/>
                  </a:cubicBezTo>
                  <a:lnTo>
                    <a:pt x="809446" y="92899"/>
                  </a:lnTo>
                  <a:lnTo>
                    <a:pt x="809446" y="25577"/>
                  </a:lnTo>
                  <a:cubicBezTo>
                    <a:pt x="809446" y="9874"/>
                    <a:pt x="799660" y="114"/>
                    <a:pt x="783920" y="114"/>
                  </a:cubicBezTo>
                  <a:cubicBezTo>
                    <a:pt x="780557" y="-12"/>
                    <a:pt x="777197" y="565"/>
                    <a:pt x="774069" y="1805"/>
                  </a:cubicBezTo>
                  <a:cubicBezTo>
                    <a:pt x="770940" y="3046"/>
                    <a:pt x="768102" y="4925"/>
                    <a:pt x="765742" y="7321"/>
                  </a:cubicBezTo>
                  <a:cubicBezTo>
                    <a:pt x="763383" y="9717"/>
                    <a:pt x="761545" y="12579"/>
                    <a:pt x="760358" y="15722"/>
                  </a:cubicBezTo>
                  <a:cubicBezTo>
                    <a:pt x="759168" y="18865"/>
                    <a:pt x="758646" y="22222"/>
                    <a:pt x="758829" y="25577"/>
                  </a:cubicBezTo>
                  <a:lnTo>
                    <a:pt x="758829" y="93506"/>
                  </a:lnTo>
                  <a:cubicBezTo>
                    <a:pt x="746613" y="95371"/>
                    <a:pt x="739091" y="104784"/>
                    <a:pt x="739091" y="118405"/>
                  </a:cubicBezTo>
                  <a:cubicBezTo>
                    <a:pt x="738822" y="124221"/>
                    <a:pt x="740677" y="129937"/>
                    <a:pt x="744306" y="134497"/>
                  </a:cubicBezTo>
                  <a:cubicBezTo>
                    <a:pt x="747934" y="139058"/>
                    <a:pt x="753092" y="142155"/>
                    <a:pt x="758829" y="143217"/>
                  </a:cubicBezTo>
                  <a:lnTo>
                    <a:pt x="758829" y="251444"/>
                  </a:lnTo>
                  <a:cubicBezTo>
                    <a:pt x="758829" y="298466"/>
                    <a:pt x="784181" y="325186"/>
                    <a:pt x="828406" y="325186"/>
                  </a:cubicBezTo>
                  <a:cubicBezTo>
                    <a:pt x="846709" y="325186"/>
                    <a:pt x="857626" y="316511"/>
                    <a:pt x="857626" y="301762"/>
                  </a:cubicBezTo>
                  <a:cubicBezTo>
                    <a:pt x="857626" y="287014"/>
                    <a:pt x="849886" y="277211"/>
                    <a:pt x="836363" y="275736"/>
                  </a:cubicBezTo>
                  <a:lnTo>
                    <a:pt x="836319" y="275996"/>
                  </a:lnTo>
                  <a:close/>
                  <a:moveTo>
                    <a:pt x="1181837" y="71"/>
                  </a:moveTo>
                  <a:cubicBezTo>
                    <a:pt x="1178499" y="-77"/>
                    <a:pt x="1175166" y="470"/>
                    <a:pt x="1172055" y="1678"/>
                  </a:cubicBezTo>
                  <a:cubicBezTo>
                    <a:pt x="1168939" y="2886"/>
                    <a:pt x="1166110" y="4728"/>
                    <a:pt x="1163750" y="7087"/>
                  </a:cubicBezTo>
                  <a:cubicBezTo>
                    <a:pt x="1161391" y="9447"/>
                    <a:pt x="1159548" y="12270"/>
                    <a:pt x="1158340" y="15379"/>
                  </a:cubicBezTo>
                  <a:cubicBezTo>
                    <a:pt x="1157136" y="18488"/>
                    <a:pt x="1156593" y="21813"/>
                    <a:pt x="1156750" y="25143"/>
                  </a:cubicBezTo>
                  <a:lnTo>
                    <a:pt x="1156750" y="299941"/>
                  </a:lnTo>
                  <a:cubicBezTo>
                    <a:pt x="1156563" y="303296"/>
                    <a:pt x="1157084" y="306652"/>
                    <a:pt x="1158275" y="309795"/>
                  </a:cubicBezTo>
                  <a:cubicBezTo>
                    <a:pt x="1159466" y="312939"/>
                    <a:pt x="1161300" y="315800"/>
                    <a:pt x="1163659" y="318196"/>
                  </a:cubicBezTo>
                  <a:cubicBezTo>
                    <a:pt x="1166019" y="320592"/>
                    <a:pt x="1168857" y="322471"/>
                    <a:pt x="1171985" y="323712"/>
                  </a:cubicBezTo>
                  <a:cubicBezTo>
                    <a:pt x="1175119" y="324953"/>
                    <a:pt x="1178473" y="325529"/>
                    <a:pt x="1181837" y="325403"/>
                  </a:cubicBezTo>
                  <a:cubicBezTo>
                    <a:pt x="1197581" y="325403"/>
                    <a:pt x="1207363" y="315643"/>
                    <a:pt x="1207363" y="299941"/>
                  </a:cubicBezTo>
                  <a:lnTo>
                    <a:pt x="1207363" y="25143"/>
                  </a:lnTo>
                  <a:cubicBezTo>
                    <a:pt x="1207363" y="9701"/>
                    <a:pt x="1197581" y="71"/>
                    <a:pt x="1181837" y="71"/>
                  </a:cubicBezTo>
                  <a:close/>
                  <a:moveTo>
                    <a:pt x="1329682" y="251184"/>
                  </a:moveTo>
                  <a:cubicBezTo>
                    <a:pt x="1328826" y="249901"/>
                    <a:pt x="1327896" y="248670"/>
                    <a:pt x="1326897" y="247497"/>
                  </a:cubicBezTo>
                  <a:cubicBezTo>
                    <a:pt x="1324576" y="244716"/>
                    <a:pt x="1321952" y="242199"/>
                    <a:pt x="1319070" y="239993"/>
                  </a:cubicBezTo>
                  <a:cubicBezTo>
                    <a:pt x="1318071" y="239255"/>
                    <a:pt x="1317028" y="238518"/>
                    <a:pt x="1315942" y="237824"/>
                  </a:cubicBezTo>
                  <a:cubicBezTo>
                    <a:pt x="1310592" y="234319"/>
                    <a:pt x="1304587" y="231929"/>
                    <a:pt x="1298286" y="230797"/>
                  </a:cubicBezTo>
                  <a:cubicBezTo>
                    <a:pt x="1295626" y="230359"/>
                    <a:pt x="1292936" y="230142"/>
                    <a:pt x="1290242" y="230146"/>
                  </a:cubicBezTo>
                  <a:cubicBezTo>
                    <a:pt x="1282198" y="230133"/>
                    <a:pt x="1274280" y="232163"/>
                    <a:pt x="1267241" y="236045"/>
                  </a:cubicBezTo>
                  <a:cubicBezTo>
                    <a:pt x="1265885" y="236757"/>
                    <a:pt x="1264577" y="237554"/>
                    <a:pt x="1263325" y="238431"/>
                  </a:cubicBezTo>
                  <a:cubicBezTo>
                    <a:pt x="1256833" y="242799"/>
                    <a:pt x="1251514" y="248691"/>
                    <a:pt x="1247838" y="255588"/>
                  </a:cubicBezTo>
                  <a:cubicBezTo>
                    <a:pt x="1244161" y="262486"/>
                    <a:pt x="1242236" y="270179"/>
                    <a:pt x="1242236" y="277992"/>
                  </a:cubicBezTo>
                  <a:cubicBezTo>
                    <a:pt x="1242236" y="285804"/>
                    <a:pt x="1244161" y="293497"/>
                    <a:pt x="1247838" y="300395"/>
                  </a:cubicBezTo>
                  <a:cubicBezTo>
                    <a:pt x="1251514" y="307292"/>
                    <a:pt x="1256833" y="313184"/>
                    <a:pt x="1263325" y="317552"/>
                  </a:cubicBezTo>
                  <a:cubicBezTo>
                    <a:pt x="1264590" y="318413"/>
                    <a:pt x="1265894" y="319210"/>
                    <a:pt x="1267241" y="319938"/>
                  </a:cubicBezTo>
                  <a:cubicBezTo>
                    <a:pt x="1275610" y="324459"/>
                    <a:pt x="1285140" y="326388"/>
                    <a:pt x="1294614" y="325476"/>
                  </a:cubicBezTo>
                  <a:cubicBezTo>
                    <a:pt x="1304087" y="324564"/>
                    <a:pt x="1313074" y="320854"/>
                    <a:pt x="1320418" y="314819"/>
                  </a:cubicBezTo>
                  <a:cubicBezTo>
                    <a:pt x="1322790" y="312872"/>
                    <a:pt x="1324963" y="310692"/>
                    <a:pt x="1326897" y="308312"/>
                  </a:cubicBezTo>
                  <a:cubicBezTo>
                    <a:pt x="1327888" y="307146"/>
                    <a:pt x="1328818" y="305930"/>
                    <a:pt x="1329682" y="304669"/>
                  </a:cubicBezTo>
                  <a:cubicBezTo>
                    <a:pt x="1331377" y="302103"/>
                    <a:pt x="1332833" y="299387"/>
                    <a:pt x="1334028" y="296557"/>
                  </a:cubicBezTo>
                  <a:cubicBezTo>
                    <a:pt x="1337135" y="289250"/>
                    <a:pt x="1338361" y="281286"/>
                    <a:pt x="1337604" y="273386"/>
                  </a:cubicBezTo>
                  <a:cubicBezTo>
                    <a:pt x="1336844" y="265486"/>
                    <a:pt x="1334119" y="257900"/>
                    <a:pt x="1329682" y="251314"/>
                  </a:cubicBezTo>
                </a:path>
              </a:pathLst>
            </a:custGeom>
            <a:grpFill/>
            <a:ln w="4341"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852200CD-9B6F-A142-8A33-5A937B635099}"/>
                </a:ext>
              </a:extLst>
            </p:cNvPr>
            <p:cNvSpPr/>
            <p:nvPr/>
          </p:nvSpPr>
          <p:spPr>
            <a:xfrm>
              <a:off x="9413207" y="4268016"/>
              <a:ext cx="1408602" cy="94482"/>
            </a:xfrm>
            <a:custGeom>
              <a:avLst/>
              <a:gdLst>
                <a:gd name="connsiteX0" fmla="*/ 956896 w 1408602"/>
                <a:gd name="connsiteY0" fmla="*/ 36021 h 94482"/>
                <a:gd name="connsiteX1" fmla="*/ 958117 w 1408602"/>
                <a:gd name="connsiteY1" fmla="*/ 46561 h 94482"/>
                <a:gd name="connsiteX2" fmla="*/ 957639 w 1408602"/>
                <a:gd name="connsiteY2" fmla="*/ 52678 h 94482"/>
                <a:gd name="connsiteX3" fmla="*/ 956548 w 1408602"/>
                <a:gd name="connsiteY3" fmla="*/ 58404 h 94482"/>
                <a:gd name="connsiteX4" fmla="*/ 952202 w 1408602"/>
                <a:gd name="connsiteY4" fmla="*/ 68944 h 94482"/>
                <a:gd name="connsiteX5" fmla="*/ 929940 w 1408602"/>
                <a:gd name="connsiteY5" fmla="*/ 89388 h 94482"/>
                <a:gd name="connsiteX6" fmla="*/ 899782 w 1408602"/>
                <a:gd name="connsiteY6" fmla="*/ 91869 h 94482"/>
                <a:gd name="connsiteX7" fmla="*/ 874460 w 1408602"/>
                <a:gd name="connsiteY7" fmla="*/ 75340 h 94482"/>
                <a:gd name="connsiteX8" fmla="*/ 864669 w 1408602"/>
                <a:gd name="connsiteY8" fmla="*/ 46778 h 94482"/>
                <a:gd name="connsiteX9" fmla="*/ 865625 w 1408602"/>
                <a:gd name="connsiteY9" fmla="*/ 37409 h 94482"/>
                <a:gd name="connsiteX10" fmla="*/ 875220 w 1408602"/>
                <a:gd name="connsiteY10" fmla="*/ 17278 h 94482"/>
                <a:gd name="connsiteX11" fmla="*/ 893107 w 1408602"/>
                <a:gd name="connsiteY11" fmla="*/ 3921 h 94482"/>
                <a:gd name="connsiteX12" fmla="*/ 911241 w 1408602"/>
                <a:gd name="connsiteY12" fmla="*/ 233 h 94482"/>
                <a:gd name="connsiteX13" fmla="*/ 929371 w 1408602"/>
                <a:gd name="connsiteY13" fmla="*/ 3921 h 94482"/>
                <a:gd name="connsiteX14" fmla="*/ 953289 w 1408602"/>
                <a:gd name="connsiteY14" fmla="*/ 26348 h 94482"/>
                <a:gd name="connsiteX15" fmla="*/ 956765 w 1408602"/>
                <a:gd name="connsiteY15" fmla="*/ 36021 h 94482"/>
                <a:gd name="connsiteX16" fmla="*/ 956896 w 1408602"/>
                <a:gd name="connsiteY16" fmla="*/ 36021 h 94482"/>
                <a:gd name="connsiteX17" fmla="*/ 46701 w 1408602"/>
                <a:gd name="connsiteY17" fmla="*/ 17 h 94482"/>
                <a:gd name="connsiteX18" fmla="*/ 20768 w 1408602"/>
                <a:gd name="connsiteY18" fmla="*/ 7840 h 94482"/>
                <a:gd name="connsiteX19" fmla="*/ 3564 w 1408602"/>
                <a:gd name="connsiteY19" fmla="*/ 28720 h 94482"/>
                <a:gd name="connsiteX20" fmla="*/ 891 w 1408602"/>
                <a:gd name="connsiteY20" fmla="*/ 55615 h 94482"/>
                <a:gd name="connsiteX21" fmla="*/ 13651 w 1408602"/>
                <a:gd name="connsiteY21" fmla="*/ 79458 h 94482"/>
                <a:gd name="connsiteX22" fmla="*/ 37539 w 1408602"/>
                <a:gd name="connsiteY22" fmla="*/ 92208 h 94482"/>
                <a:gd name="connsiteX23" fmla="*/ 64503 w 1408602"/>
                <a:gd name="connsiteY23" fmla="*/ 89567 h 94482"/>
                <a:gd name="connsiteX24" fmla="*/ 85449 w 1408602"/>
                <a:gd name="connsiteY24" fmla="*/ 72425 h 94482"/>
                <a:gd name="connsiteX25" fmla="*/ 93316 w 1408602"/>
                <a:gd name="connsiteY25" fmla="*/ 46561 h 94482"/>
                <a:gd name="connsiteX26" fmla="*/ 89791 w 1408602"/>
                <a:gd name="connsiteY26" fmla="*/ 28746 h 94482"/>
                <a:gd name="connsiteX27" fmla="*/ 79691 w 1408602"/>
                <a:gd name="connsiteY27" fmla="*/ 13640 h 94482"/>
                <a:gd name="connsiteX28" fmla="*/ 64557 w 1408602"/>
                <a:gd name="connsiteY28" fmla="*/ 3549 h 94482"/>
                <a:gd name="connsiteX29" fmla="*/ 46701 w 1408602"/>
                <a:gd name="connsiteY29" fmla="*/ 17 h 94482"/>
                <a:gd name="connsiteX30" fmla="*/ 1380165 w 1408602"/>
                <a:gd name="connsiteY30" fmla="*/ 3661 h 94482"/>
                <a:gd name="connsiteX31" fmla="*/ 1375819 w 1408602"/>
                <a:gd name="connsiteY31" fmla="*/ 2099 h 94482"/>
                <a:gd name="connsiteX32" fmla="*/ 1369035 w 1408602"/>
                <a:gd name="connsiteY32" fmla="*/ 581 h 94482"/>
                <a:gd name="connsiteX33" fmla="*/ 1361948 w 1408602"/>
                <a:gd name="connsiteY33" fmla="*/ 17 h 94482"/>
                <a:gd name="connsiteX34" fmla="*/ 1348077 w 1408602"/>
                <a:gd name="connsiteY34" fmla="*/ 2099 h 94482"/>
                <a:gd name="connsiteX35" fmla="*/ 1343727 w 1408602"/>
                <a:gd name="connsiteY35" fmla="*/ 3661 h 94482"/>
                <a:gd name="connsiteX36" fmla="*/ 1325845 w 1408602"/>
                <a:gd name="connsiteY36" fmla="*/ 17035 h 94482"/>
                <a:gd name="connsiteX37" fmla="*/ 1316202 w 1408602"/>
                <a:gd name="connsiteY37" fmla="*/ 37148 h 94482"/>
                <a:gd name="connsiteX38" fmla="*/ 1315289 w 1408602"/>
                <a:gd name="connsiteY38" fmla="*/ 46561 h 94482"/>
                <a:gd name="connsiteX39" fmla="*/ 1328900 w 1408602"/>
                <a:gd name="connsiteY39" fmla="*/ 79442 h 94482"/>
                <a:gd name="connsiteX40" fmla="*/ 1335944 w 1408602"/>
                <a:gd name="connsiteY40" fmla="*/ 85124 h 94482"/>
                <a:gd name="connsiteX41" fmla="*/ 1348120 w 1408602"/>
                <a:gd name="connsiteY41" fmla="*/ 90980 h 94482"/>
                <a:gd name="connsiteX42" fmla="*/ 1369079 w 1408602"/>
                <a:gd name="connsiteY42" fmla="*/ 92542 h 94482"/>
                <a:gd name="connsiteX43" fmla="*/ 1375862 w 1408602"/>
                <a:gd name="connsiteY43" fmla="*/ 90980 h 94482"/>
                <a:gd name="connsiteX44" fmla="*/ 1388034 w 1408602"/>
                <a:gd name="connsiteY44" fmla="*/ 85124 h 94482"/>
                <a:gd name="connsiteX45" fmla="*/ 1394948 w 1408602"/>
                <a:gd name="connsiteY45" fmla="*/ 79442 h 94482"/>
                <a:gd name="connsiteX46" fmla="*/ 1405065 w 1408602"/>
                <a:gd name="connsiteY46" fmla="*/ 64361 h 94482"/>
                <a:gd name="connsiteX47" fmla="*/ 1408602 w 1408602"/>
                <a:gd name="connsiteY47" fmla="*/ 46561 h 94482"/>
                <a:gd name="connsiteX48" fmla="*/ 1407646 w 1408602"/>
                <a:gd name="connsiteY48" fmla="*/ 37148 h 94482"/>
                <a:gd name="connsiteX49" fmla="*/ 1398012 w 1408602"/>
                <a:gd name="connsiteY49" fmla="*/ 17027 h 94482"/>
                <a:gd name="connsiteX50" fmla="*/ 1380121 w 1408602"/>
                <a:gd name="connsiteY50" fmla="*/ 3661 h 94482"/>
                <a:gd name="connsiteX51" fmla="*/ 1380165 w 1408602"/>
                <a:gd name="connsiteY51" fmla="*/ 3661 h 94482"/>
                <a:gd name="connsiteX52" fmla="*/ 431705 w 1408602"/>
                <a:gd name="connsiteY52" fmla="*/ 3661 h 94482"/>
                <a:gd name="connsiteX53" fmla="*/ 411603 w 1408602"/>
                <a:gd name="connsiteY53" fmla="*/ 42 h 94482"/>
                <a:gd name="connsiteX54" fmla="*/ 391882 w 1408602"/>
                <a:gd name="connsiteY54" fmla="*/ 5352 h 94482"/>
                <a:gd name="connsiteX55" fmla="*/ 376338 w 1408602"/>
                <a:gd name="connsiteY55" fmla="*/ 18568 h 94482"/>
                <a:gd name="connsiteX56" fmla="*/ 367956 w 1408602"/>
                <a:gd name="connsiteY56" fmla="*/ 37148 h 94482"/>
                <a:gd name="connsiteX57" fmla="*/ 367000 w 1408602"/>
                <a:gd name="connsiteY57" fmla="*/ 46561 h 94482"/>
                <a:gd name="connsiteX58" fmla="*/ 370128 w 1408602"/>
                <a:gd name="connsiteY58" fmla="*/ 64788 h 94482"/>
                <a:gd name="connsiteX59" fmla="*/ 380132 w 1408602"/>
                <a:gd name="connsiteY59" fmla="*/ 80357 h 94482"/>
                <a:gd name="connsiteX60" fmla="*/ 395428 w 1408602"/>
                <a:gd name="connsiteY60" fmla="*/ 90805 h 94482"/>
                <a:gd name="connsiteX61" fmla="*/ 413593 w 1408602"/>
                <a:gd name="connsiteY61" fmla="*/ 94482 h 94482"/>
                <a:gd name="connsiteX62" fmla="*/ 431762 w 1408602"/>
                <a:gd name="connsiteY62" fmla="*/ 90805 h 94482"/>
                <a:gd name="connsiteX63" fmla="*/ 447054 w 1408602"/>
                <a:gd name="connsiteY63" fmla="*/ 80357 h 94482"/>
                <a:gd name="connsiteX64" fmla="*/ 457057 w 1408602"/>
                <a:gd name="connsiteY64" fmla="*/ 64788 h 94482"/>
                <a:gd name="connsiteX65" fmla="*/ 460186 w 1408602"/>
                <a:gd name="connsiteY65" fmla="*/ 46561 h 94482"/>
                <a:gd name="connsiteX66" fmla="*/ 459230 w 1408602"/>
                <a:gd name="connsiteY66" fmla="*/ 37148 h 94482"/>
                <a:gd name="connsiteX67" fmla="*/ 449609 w 1408602"/>
                <a:gd name="connsiteY67" fmla="*/ 17017 h 94482"/>
                <a:gd name="connsiteX68" fmla="*/ 431705 w 1408602"/>
                <a:gd name="connsiteY68" fmla="*/ 3661 h 94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408602" h="94482">
                  <a:moveTo>
                    <a:pt x="956896" y="36021"/>
                  </a:moveTo>
                  <a:cubicBezTo>
                    <a:pt x="957704" y="39477"/>
                    <a:pt x="958112" y="43013"/>
                    <a:pt x="958117" y="46561"/>
                  </a:cubicBezTo>
                  <a:cubicBezTo>
                    <a:pt x="958099" y="48609"/>
                    <a:pt x="957939" y="50653"/>
                    <a:pt x="957639" y="52678"/>
                  </a:cubicBezTo>
                  <a:cubicBezTo>
                    <a:pt x="957408" y="54609"/>
                    <a:pt x="957048" y="56522"/>
                    <a:pt x="956548" y="58404"/>
                  </a:cubicBezTo>
                  <a:cubicBezTo>
                    <a:pt x="955553" y="62086"/>
                    <a:pt x="954093" y="65628"/>
                    <a:pt x="952202" y="68944"/>
                  </a:cubicBezTo>
                  <a:cubicBezTo>
                    <a:pt x="947270" y="78041"/>
                    <a:pt x="939435" y="85236"/>
                    <a:pt x="929940" y="89388"/>
                  </a:cubicBezTo>
                  <a:cubicBezTo>
                    <a:pt x="920445" y="93541"/>
                    <a:pt x="909829" y="94414"/>
                    <a:pt x="899782" y="91869"/>
                  </a:cubicBezTo>
                  <a:cubicBezTo>
                    <a:pt x="889735" y="89325"/>
                    <a:pt x="880822" y="83507"/>
                    <a:pt x="874460" y="75340"/>
                  </a:cubicBezTo>
                  <a:cubicBezTo>
                    <a:pt x="868102" y="67172"/>
                    <a:pt x="864656" y="57121"/>
                    <a:pt x="864669" y="46778"/>
                  </a:cubicBezTo>
                  <a:cubicBezTo>
                    <a:pt x="864652" y="43630"/>
                    <a:pt x="864973" y="40489"/>
                    <a:pt x="865625" y="37409"/>
                  </a:cubicBezTo>
                  <a:cubicBezTo>
                    <a:pt x="867138" y="30021"/>
                    <a:pt x="870431" y="23112"/>
                    <a:pt x="875220" y="17278"/>
                  </a:cubicBezTo>
                  <a:cubicBezTo>
                    <a:pt x="880005" y="11444"/>
                    <a:pt x="886145" y="6859"/>
                    <a:pt x="893107" y="3921"/>
                  </a:cubicBezTo>
                  <a:cubicBezTo>
                    <a:pt x="898843" y="1487"/>
                    <a:pt x="905009" y="233"/>
                    <a:pt x="911241" y="233"/>
                  </a:cubicBezTo>
                  <a:cubicBezTo>
                    <a:pt x="917472" y="233"/>
                    <a:pt x="923639" y="1487"/>
                    <a:pt x="929371" y="3921"/>
                  </a:cubicBezTo>
                  <a:cubicBezTo>
                    <a:pt x="939809" y="8254"/>
                    <a:pt x="948309" y="16225"/>
                    <a:pt x="953289" y="26348"/>
                  </a:cubicBezTo>
                  <a:cubicBezTo>
                    <a:pt x="954788" y="29439"/>
                    <a:pt x="955957" y="32682"/>
                    <a:pt x="956765" y="36021"/>
                  </a:cubicBezTo>
                  <a:lnTo>
                    <a:pt x="956896" y="36021"/>
                  </a:lnTo>
                  <a:close/>
                  <a:moveTo>
                    <a:pt x="46701" y="17"/>
                  </a:moveTo>
                  <a:cubicBezTo>
                    <a:pt x="37471" y="9"/>
                    <a:pt x="28447" y="2731"/>
                    <a:pt x="20768" y="7840"/>
                  </a:cubicBezTo>
                  <a:cubicBezTo>
                    <a:pt x="13089" y="12949"/>
                    <a:pt x="7102" y="20216"/>
                    <a:pt x="3564" y="28720"/>
                  </a:cubicBezTo>
                  <a:cubicBezTo>
                    <a:pt x="26" y="37224"/>
                    <a:pt x="-904" y="46584"/>
                    <a:pt x="891" y="55615"/>
                  </a:cubicBezTo>
                  <a:cubicBezTo>
                    <a:pt x="2687" y="64647"/>
                    <a:pt x="7127" y="72944"/>
                    <a:pt x="13651" y="79458"/>
                  </a:cubicBezTo>
                  <a:cubicBezTo>
                    <a:pt x="20174" y="85971"/>
                    <a:pt x="28487" y="90409"/>
                    <a:pt x="37539" y="92208"/>
                  </a:cubicBezTo>
                  <a:cubicBezTo>
                    <a:pt x="46592" y="94008"/>
                    <a:pt x="55975" y="93088"/>
                    <a:pt x="64503" y="89567"/>
                  </a:cubicBezTo>
                  <a:cubicBezTo>
                    <a:pt x="73031" y="86045"/>
                    <a:pt x="80321" y="80080"/>
                    <a:pt x="85449" y="72425"/>
                  </a:cubicBezTo>
                  <a:cubicBezTo>
                    <a:pt x="90578" y="64769"/>
                    <a:pt x="93316" y="55769"/>
                    <a:pt x="93316" y="46561"/>
                  </a:cubicBezTo>
                  <a:cubicBezTo>
                    <a:pt x="93327" y="40450"/>
                    <a:pt x="92129" y="34396"/>
                    <a:pt x="89791" y="28746"/>
                  </a:cubicBezTo>
                  <a:cubicBezTo>
                    <a:pt x="87454" y="23097"/>
                    <a:pt x="84021" y="17963"/>
                    <a:pt x="79691" y="13640"/>
                  </a:cubicBezTo>
                  <a:cubicBezTo>
                    <a:pt x="75361" y="9316"/>
                    <a:pt x="70218" y="5887"/>
                    <a:pt x="64557" y="3549"/>
                  </a:cubicBezTo>
                  <a:cubicBezTo>
                    <a:pt x="58896" y="1212"/>
                    <a:pt x="52828" y="12"/>
                    <a:pt x="46701" y="17"/>
                  </a:cubicBezTo>
                  <a:close/>
                  <a:moveTo>
                    <a:pt x="1380165" y="3661"/>
                  </a:moveTo>
                  <a:cubicBezTo>
                    <a:pt x="1378774" y="3097"/>
                    <a:pt x="1377340" y="2577"/>
                    <a:pt x="1375819" y="2099"/>
                  </a:cubicBezTo>
                  <a:cubicBezTo>
                    <a:pt x="1373594" y="1435"/>
                    <a:pt x="1371330" y="928"/>
                    <a:pt x="1369035" y="581"/>
                  </a:cubicBezTo>
                  <a:cubicBezTo>
                    <a:pt x="1366693" y="194"/>
                    <a:pt x="1364321" y="6"/>
                    <a:pt x="1361948" y="17"/>
                  </a:cubicBezTo>
                  <a:cubicBezTo>
                    <a:pt x="1357246" y="18"/>
                    <a:pt x="1352570" y="720"/>
                    <a:pt x="1348077" y="2099"/>
                  </a:cubicBezTo>
                  <a:cubicBezTo>
                    <a:pt x="1346638" y="2577"/>
                    <a:pt x="1345204" y="3097"/>
                    <a:pt x="1343727" y="3661"/>
                  </a:cubicBezTo>
                  <a:cubicBezTo>
                    <a:pt x="1336774" y="6615"/>
                    <a:pt x="1330638" y="11204"/>
                    <a:pt x="1325845" y="17035"/>
                  </a:cubicBezTo>
                  <a:cubicBezTo>
                    <a:pt x="1321052" y="22866"/>
                    <a:pt x="1317745" y="29766"/>
                    <a:pt x="1316202" y="37148"/>
                  </a:cubicBezTo>
                  <a:cubicBezTo>
                    <a:pt x="1315589" y="40249"/>
                    <a:pt x="1315281" y="43402"/>
                    <a:pt x="1315289" y="46561"/>
                  </a:cubicBezTo>
                  <a:cubicBezTo>
                    <a:pt x="1315276" y="58888"/>
                    <a:pt x="1320174" y="70714"/>
                    <a:pt x="1328900" y="79442"/>
                  </a:cubicBezTo>
                  <a:cubicBezTo>
                    <a:pt x="1331072" y="81540"/>
                    <a:pt x="1333432" y="83442"/>
                    <a:pt x="1335944" y="85124"/>
                  </a:cubicBezTo>
                  <a:cubicBezTo>
                    <a:pt x="1339703" y="87641"/>
                    <a:pt x="1343801" y="89613"/>
                    <a:pt x="1348120" y="90980"/>
                  </a:cubicBezTo>
                  <a:cubicBezTo>
                    <a:pt x="1354899" y="93053"/>
                    <a:pt x="1362061" y="93587"/>
                    <a:pt x="1369079" y="92542"/>
                  </a:cubicBezTo>
                  <a:cubicBezTo>
                    <a:pt x="1371373" y="92181"/>
                    <a:pt x="1373638" y="91659"/>
                    <a:pt x="1375862" y="90980"/>
                  </a:cubicBezTo>
                  <a:cubicBezTo>
                    <a:pt x="1380182" y="89623"/>
                    <a:pt x="1384280" y="87651"/>
                    <a:pt x="1388034" y="85124"/>
                  </a:cubicBezTo>
                  <a:cubicBezTo>
                    <a:pt x="1390503" y="83435"/>
                    <a:pt x="1392815" y="81534"/>
                    <a:pt x="1394948" y="79442"/>
                  </a:cubicBezTo>
                  <a:cubicBezTo>
                    <a:pt x="1399285" y="75128"/>
                    <a:pt x="1402723" y="70003"/>
                    <a:pt x="1405065" y="64361"/>
                  </a:cubicBezTo>
                  <a:cubicBezTo>
                    <a:pt x="1407407" y="58718"/>
                    <a:pt x="1408611" y="52669"/>
                    <a:pt x="1408602" y="46561"/>
                  </a:cubicBezTo>
                  <a:cubicBezTo>
                    <a:pt x="1408598" y="43400"/>
                    <a:pt x="1408276" y="40247"/>
                    <a:pt x="1407646" y="37148"/>
                  </a:cubicBezTo>
                  <a:cubicBezTo>
                    <a:pt x="1406112" y="29764"/>
                    <a:pt x="1402809" y="22860"/>
                    <a:pt x="1398012" y="17027"/>
                  </a:cubicBezTo>
                  <a:cubicBezTo>
                    <a:pt x="1393219" y="11196"/>
                    <a:pt x="1387083" y="6609"/>
                    <a:pt x="1380121" y="3661"/>
                  </a:cubicBezTo>
                  <a:lnTo>
                    <a:pt x="1380165" y="3661"/>
                  </a:lnTo>
                  <a:close/>
                  <a:moveTo>
                    <a:pt x="431705" y="3661"/>
                  </a:moveTo>
                  <a:cubicBezTo>
                    <a:pt x="425356" y="986"/>
                    <a:pt x="418490" y="-250"/>
                    <a:pt x="411603" y="42"/>
                  </a:cubicBezTo>
                  <a:cubicBezTo>
                    <a:pt x="404719" y="334"/>
                    <a:pt x="397984" y="2148"/>
                    <a:pt x="391882" y="5352"/>
                  </a:cubicBezTo>
                  <a:cubicBezTo>
                    <a:pt x="385785" y="8555"/>
                    <a:pt x="380475" y="13069"/>
                    <a:pt x="376338" y="18568"/>
                  </a:cubicBezTo>
                  <a:cubicBezTo>
                    <a:pt x="372201" y="24066"/>
                    <a:pt x="369337" y="30413"/>
                    <a:pt x="367956" y="37148"/>
                  </a:cubicBezTo>
                  <a:cubicBezTo>
                    <a:pt x="367308" y="40244"/>
                    <a:pt x="366986" y="43399"/>
                    <a:pt x="367000" y="46561"/>
                  </a:cubicBezTo>
                  <a:cubicBezTo>
                    <a:pt x="366808" y="52785"/>
                    <a:pt x="367873" y="58983"/>
                    <a:pt x="370128" y="64788"/>
                  </a:cubicBezTo>
                  <a:cubicBezTo>
                    <a:pt x="372384" y="70593"/>
                    <a:pt x="375786" y="75887"/>
                    <a:pt x="380132" y="80357"/>
                  </a:cubicBezTo>
                  <a:cubicBezTo>
                    <a:pt x="384477" y="84826"/>
                    <a:pt x="389679" y="88379"/>
                    <a:pt x="395428" y="90805"/>
                  </a:cubicBezTo>
                  <a:cubicBezTo>
                    <a:pt x="401173" y="93232"/>
                    <a:pt x="407353" y="94482"/>
                    <a:pt x="413593" y="94482"/>
                  </a:cubicBezTo>
                  <a:cubicBezTo>
                    <a:pt x="419833" y="94482"/>
                    <a:pt x="426013" y="93232"/>
                    <a:pt x="431762" y="90805"/>
                  </a:cubicBezTo>
                  <a:cubicBezTo>
                    <a:pt x="437507" y="88379"/>
                    <a:pt x="442708" y="84826"/>
                    <a:pt x="447054" y="80357"/>
                  </a:cubicBezTo>
                  <a:cubicBezTo>
                    <a:pt x="451399" y="75887"/>
                    <a:pt x="454802" y="70593"/>
                    <a:pt x="457057" y="64788"/>
                  </a:cubicBezTo>
                  <a:cubicBezTo>
                    <a:pt x="459313" y="58983"/>
                    <a:pt x="460377" y="52785"/>
                    <a:pt x="460186" y="46561"/>
                  </a:cubicBezTo>
                  <a:cubicBezTo>
                    <a:pt x="460178" y="43400"/>
                    <a:pt x="459856" y="40247"/>
                    <a:pt x="459230" y="37148"/>
                  </a:cubicBezTo>
                  <a:cubicBezTo>
                    <a:pt x="457705" y="29759"/>
                    <a:pt x="454402" y="22851"/>
                    <a:pt x="449609" y="17017"/>
                  </a:cubicBezTo>
                  <a:cubicBezTo>
                    <a:pt x="444812" y="11183"/>
                    <a:pt x="438667" y="6600"/>
                    <a:pt x="431705" y="3661"/>
                  </a:cubicBezTo>
                  <a:close/>
                </a:path>
              </a:pathLst>
            </a:custGeom>
            <a:grpFill/>
            <a:ln w="4341" cap="flat">
              <a:noFill/>
              <a:prstDash val="solid"/>
              <a:miter/>
            </a:ln>
          </p:spPr>
          <p:txBody>
            <a:bodyPr rtlCol="0" anchor="ctr"/>
            <a:lstStyle/>
            <a:p>
              <a:endParaRPr lang="en-US"/>
            </a:p>
          </p:txBody>
        </p:sp>
      </p:grpSp>
      <p:sp>
        <p:nvSpPr>
          <p:cNvPr id="24" name="TextBox 11">
            <a:extLst>
              <a:ext uri="{FF2B5EF4-FFF2-40B4-BE49-F238E27FC236}">
                <a16:creationId xmlns:a16="http://schemas.microsoft.com/office/drawing/2014/main" id="{7B75F3B7-D002-6F41-9605-D762BD1B8C2C}"/>
              </a:ext>
            </a:extLst>
          </p:cNvPr>
          <p:cNvSpPr txBox="1">
            <a:spLocks noChangeArrowheads="1"/>
          </p:cNvSpPr>
          <p:nvPr userDrawn="1"/>
        </p:nvSpPr>
        <p:spPr bwMode="auto">
          <a:xfrm rot="16200000">
            <a:off x="11405015" y="674731"/>
            <a:ext cx="84189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700">
                <a:solidFill>
                  <a:schemeClr val="tx1">
                    <a:lumMod val="65000"/>
                    <a:lumOff val="35000"/>
                  </a:schemeClr>
                </a:solidFill>
                <a:latin typeface="Arial" panose="020B0604020202020204" pitchFamily="34" charset="0"/>
                <a:ea typeface="Segoe UI Historic" panose="020B0502040204020203" pitchFamily="34" charset="0"/>
                <a:cs typeface="Arial" panose="020B0604020202020204" pitchFamily="34" charset="0"/>
              </a:rPr>
              <a:t>© Digital.ai.2023</a:t>
            </a:r>
          </a:p>
        </p:txBody>
      </p:sp>
      <p:cxnSp>
        <p:nvCxnSpPr>
          <p:cNvPr id="25" name="Straight Connector 24">
            <a:extLst>
              <a:ext uri="{FF2B5EF4-FFF2-40B4-BE49-F238E27FC236}">
                <a16:creationId xmlns:a16="http://schemas.microsoft.com/office/drawing/2014/main" id="{5978DCE2-FEE5-CB45-9C44-E3B8CFE33B81}"/>
              </a:ext>
            </a:extLst>
          </p:cNvPr>
          <p:cNvCxnSpPr>
            <a:cxnSpLocks/>
          </p:cNvCxnSpPr>
          <p:nvPr userDrawn="1"/>
        </p:nvCxnSpPr>
        <p:spPr>
          <a:xfrm>
            <a:off x="11825964" y="1266093"/>
            <a:ext cx="0" cy="6130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3B655EA-7B7A-244E-A51D-30E29B19D6BC}"/>
              </a:ext>
            </a:extLst>
          </p:cNvPr>
          <p:cNvCxnSpPr>
            <a:cxnSpLocks/>
          </p:cNvCxnSpPr>
          <p:nvPr userDrawn="1"/>
        </p:nvCxnSpPr>
        <p:spPr>
          <a:xfrm>
            <a:off x="11825964" y="1879134"/>
            <a:ext cx="0" cy="460205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AEA895D9-90CA-3F44-B7E2-0EBFCFD5887C}"/>
              </a:ext>
            </a:extLst>
          </p:cNvPr>
          <p:cNvSpPr>
            <a:spLocks noGrp="1"/>
          </p:cNvSpPr>
          <p:nvPr>
            <p:ph type="body" sz="quarter" idx="10" hasCustomPrompt="1"/>
          </p:nvPr>
        </p:nvSpPr>
        <p:spPr>
          <a:xfrm>
            <a:off x="901262" y="3099739"/>
            <a:ext cx="5093130" cy="369332"/>
          </a:xfrm>
          <a:noFill/>
        </p:spPr>
        <p:txBody>
          <a:bodyPr wrap="square" rtlCol="0">
            <a:spAutoFit/>
          </a:bodyPr>
          <a:lstStyle>
            <a:lvl1pPr marL="0" indent="0">
              <a:buNone/>
              <a:defRPr lang="en-US" sz="1800" dirty="0">
                <a:solidFill>
                  <a:schemeClr val="tx1">
                    <a:lumMod val="75000"/>
                    <a:lumOff val="25000"/>
                  </a:schemeClr>
                </a:solidFill>
                <a:latin typeface="+mn-lt"/>
                <a:cs typeface="+mn-cs"/>
              </a:defRPr>
            </a:lvl1pPr>
          </a:lstStyle>
          <a:p>
            <a:pPr marL="0" lvl="0" defTabSz="914400" latinLnBrk="0"/>
            <a:r>
              <a:rPr lang="en-US"/>
              <a:t>Click To Edit Master Text Styles</a:t>
            </a:r>
          </a:p>
        </p:txBody>
      </p:sp>
      <p:sp>
        <p:nvSpPr>
          <p:cNvPr id="15" name="Title 14">
            <a:extLst>
              <a:ext uri="{FF2B5EF4-FFF2-40B4-BE49-F238E27FC236}">
                <a16:creationId xmlns:a16="http://schemas.microsoft.com/office/drawing/2014/main" id="{E2562DB3-52CC-1D49-8206-9CFAA46EE2E2}"/>
              </a:ext>
            </a:extLst>
          </p:cNvPr>
          <p:cNvSpPr>
            <a:spLocks noGrp="1"/>
          </p:cNvSpPr>
          <p:nvPr>
            <p:ph type="title" hasCustomPrompt="1"/>
          </p:nvPr>
        </p:nvSpPr>
        <p:spPr>
          <a:xfrm>
            <a:off x="901261" y="967571"/>
            <a:ext cx="5093131" cy="2086725"/>
          </a:xfrm>
          <a:noFill/>
        </p:spPr>
        <p:txBody>
          <a:bodyPr wrap="square" rtlCol="0" anchor="b">
            <a:spAutoFit/>
          </a:bodyPr>
          <a:lstStyle>
            <a:lvl1pPr>
              <a:lnSpc>
                <a:spcPct val="80000"/>
              </a:lnSpc>
              <a:defRPr lang="en-US" sz="5400" spc="-150" dirty="0">
                <a:ea typeface="+mn-ea"/>
              </a:defRPr>
            </a:lvl1pPr>
          </a:lstStyle>
          <a:p>
            <a:pPr marL="0" lvl="0" defTabSz="914400" latinLnBrk="0">
              <a:lnSpc>
                <a:spcPct val="80000"/>
              </a:lnSpc>
            </a:pPr>
            <a:r>
              <a:rPr lang="en-US"/>
              <a:t>NEW </a:t>
            </a:r>
            <a:br>
              <a:rPr lang="en-US"/>
            </a:br>
            <a:r>
              <a:rPr lang="en-US"/>
              <a:t>DIVIDER </a:t>
            </a:r>
            <a:br>
              <a:rPr lang="en-US"/>
            </a:br>
            <a:r>
              <a:rPr lang="en-US"/>
              <a:t>SLIDE</a:t>
            </a:r>
          </a:p>
        </p:txBody>
      </p:sp>
      <p:sp>
        <p:nvSpPr>
          <p:cNvPr id="2" name="Rectangle 1">
            <a:extLst>
              <a:ext uri="{FF2B5EF4-FFF2-40B4-BE49-F238E27FC236}">
                <a16:creationId xmlns:a16="http://schemas.microsoft.com/office/drawing/2014/main" id="{07279F2D-F83B-4541-BE85-613798A79F1C}"/>
              </a:ext>
            </a:extLst>
          </p:cNvPr>
          <p:cNvSpPr/>
          <p:nvPr userDrawn="1"/>
        </p:nvSpPr>
        <p:spPr>
          <a:xfrm>
            <a:off x="377952" y="6059424"/>
            <a:ext cx="1231392" cy="646176"/>
          </a:xfrm>
          <a:prstGeom prst="rect">
            <a:avLst/>
          </a:prstGeom>
          <a:solidFill>
            <a:schemeClr val="bg1"/>
          </a:solidFill>
          <a:ln>
            <a:noFill/>
          </a:ln>
        </p:spPr>
        <p:txBody>
          <a:bodyPr wrap="none" rtlCol="0" anchor="ctr">
            <a:spAutoFit/>
          </a:bodyPr>
          <a:lstStyle/>
          <a:p>
            <a:pPr algn="l"/>
            <a:endParaRPr lang="en-US">
              <a:latin typeface="+mj-lt"/>
            </a:endParaRPr>
          </a:p>
        </p:txBody>
      </p:sp>
    </p:spTree>
    <p:extLst>
      <p:ext uri="{BB962C8B-B14F-4D97-AF65-F5344CB8AC3E}">
        <p14:creationId xmlns:p14="http://schemas.microsoft.com/office/powerpoint/2010/main" val="4023911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 Tex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617AD-4598-EF4B-B0BE-75ACC7B0D4B5}"/>
              </a:ext>
            </a:extLst>
          </p:cNvPr>
          <p:cNvSpPr>
            <a:spLocks noGrp="1"/>
          </p:cNvSpPr>
          <p:nvPr>
            <p:ph type="title" hasCustomPrompt="1"/>
          </p:nvPr>
        </p:nvSpPr>
        <p:spPr>
          <a:xfrm>
            <a:off x="549941" y="430008"/>
            <a:ext cx="10798737" cy="486287"/>
          </a:xfrm>
          <a:noFill/>
        </p:spPr>
        <p:txBody>
          <a:bodyPr wrap="square" rtlCol="0" anchor="t">
            <a:spAutoFit/>
          </a:bodyPr>
          <a:lstStyle>
            <a:lvl1pPr>
              <a:lnSpc>
                <a:spcPct val="80000"/>
              </a:lnSpc>
              <a:defRPr lang="en-US" sz="3200" spc="-150" dirty="0">
                <a:ea typeface="+mn-ea"/>
              </a:defRPr>
            </a:lvl1pPr>
          </a:lstStyle>
          <a:p>
            <a:pPr marL="0" lvl="0" defTabSz="914400" latinLnBrk="0">
              <a:lnSpc>
                <a:spcPct val="80000"/>
              </a:lnSpc>
            </a:pPr>
            <a:r>
              <a:rPr lang="en-US"/>
              <a:t>CLICK TO EDIT TITLE</a:t>
            </a:r>
          </a:p>
        </p:txBody>
      </p:sp>
      <p:sp>
        <p:nvSpPr>
          <p:cNvPr id="14" name="Text Placeholder 12">
            <a:extLst>
              <a:ext uri="{FF2B5EF4-FFF2-40B4-BE49-F238E27FC236}">
                <a16:creationId xmlns:a16="http://schemas.microsoft.com/office/drawing/2014/main" id="{3808DA71-DC35-F14D-A87E-8422BD7D37B7}"/>
              </a:ext>
            </a:extLst>
          </p:cNvPr>
          <p:cNvSpPr>
            <a:spLocks noGrp="1"/>
          </p:cNvSpPr>
          <p:nvPr>
            <p:ph type="body" sz="quarter" idx="13"/>
          </p:nvPr>
        </p:nvSpPr>
        <p:spPr>
          <a:xfrm>
            <a:off x="549941" y="1310249"/>
            <a:ext cx="10798737" cy="4912751"/>
          </a:xfrm>
        </p:spPr>
        <p:txBody>
          <a:bodyPr wrap="square" lIns="90000">
            <a:noAutofit/>
          </a:bodyPr>
          <a:lstStyle>
            <a:lvl1pPr marL="0" indent="0">
              <a:buNone/>
              <a:defRPr lang="en-GB" sz="1100" dirty="0" smtClean="0">
                <a:solidFill>
                  <a:schemeClr val="tx1"/>
                </a:solidFill>
                <a:latin typeface="+mn-lt"/>
                <a:cs typeface="+mn-cs"/>
              </a:defRPr>
            </a:lvl1pPr>
          </a:lstStyle>
          <a:p>
            <a:pPr marL="0" lvl="0" defTabSz="914400" latinLnBrk="0">
              <a:lnSpc>
                <a:spcPct val="150000"/>
              </a:lnSpc>
            </a:pPr>
            <a:r>
              <a:rPr lang="en-GB"/>
              <a:t>Click to edit Master text styles</a:t>
            </a:r>
          </a:p>
        </p:txBody>
      </p:sp>
      <p:sp>
        <p:nvSpPr>
          <p:cNvPr id="4" name="Slide Number Placeholder 3">
            <a:extLst>
              <a:ext uri="{FF2B5EF4-FFF2-40B4-BE49-F238E27FC236}">
                <a16:creationId xmlns:a16="http://schemas.microsoft.com/office/drawing/2014/main" id="{C084DB8C-37D0-8244-BB73-1FCBC1D4E0FB}"/>
              </a:ext>
            </a:extLst>
          </p:cNvPr>
          <p:cNvSpPr>
            <a:spLocks noGrp="1"/>
          </p:cNvSpPr>
          <p:nvPr>
            <p:ph type="sldNum" sz="quarter" idx="4"/>
          </p:nvPr>
        </p:nvSpPr>
        <p:spPr>
          <a:xfrm>
            <a:off x="11466736" y="6461563"/>
            <a:ext cx="494015" cy="365125"/>
          </a:xfrm>
          <a:prstGeom prst="rect">
            <a:avLst/>
          </a:prstGeom>
        </p:spPr>
        <p:txBody>
          <a:bodyPr vert="horz" lIns="91440" tIns="45720" rIns="91440" bIns="45720" rtlCol="0" anchor="ctr"/>
          <a:lstStyle>
            <a:lvl1pPr algn="r">
              <a:defRPr sz="700">
                <a:solidFill>
                  <a:schemeClr val="tx1">
                    <a:lumMod val="85000"/>
                    <a:lumOff val="15000"/>
                  </a:schemeClr>
                </a:solidFill>
              </a:defRPr>
            </a:lvl1pPr>
          </a:lstStyle>
          <a:p>
            <a:fld id="{7807D63B-5E22-2649-BDDD-63996CEFF5E5}" type="slidenum">
              <a:rPr lang="en-US" smtClean="0"/>
              <a:pPr/>
              <a:t>‹#›</a:t>
            </a:fld>
            <a:endParaRPr lang="en-US"/>
          </a:p>
        </p:txBody>
      </p:sp>
    </p:spTree>
    <p:extLst>
      <p:ext uri="{BB962C8B-B14F-4D97-AF65-F5344CB8AC3E}">
        <p14:creationId xmlns:p14="http://schemas.microsoft.com/office/powerpoint/2010/main" val="3272176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617AD-4598-EF4B-B0BE-75ACC7B0D4B5}"/>
              </a:ext>
            </a:extLst>
          </p:cNvPr>
          <p:cNvSpPr>
            <a:spLocks noGrp="1"/>
          </p:cNvSpPr>
          <p:nvPr>
            <p:ph type="title" hasCustomPrompt="1"/>
          </p:nvPr>
        </p:nvSpPr>
        <p:spPr>
          <a:xfrm>
            <a:off x="549941" y="430008"/>
            <a:ext cx="10798737" cy="486287"/>
          </a:xfrm>
          <a:noFill/>
        </p:spPr>
        <p:txBody>
          <a:bodyPr wrap="square" rtlCol="0" anchor="t">
            <a:spAutoFit/>
          </a:bodyPr>
          <a:lstStyle>
            <a:lvl1pPr>
              <a:lnSpc>
                <a:spcPct val="80000"/>
              </a:lnSpc>
              <a:defRPr lang="en-US" sz="3200" spc="-150" dirty="0">
                <a:ea typeface="+mn-ea"/>
              </a:defRPr>
            </a:lvl1pPr>
          </a:lstStyle>
          <a:p>
            <a:pPr marL="0" lvl="0" defTabSz="914400" latinLnBrk="0">
              <a:lnSpc>
                <a:spcPct val="80000"/>
              </a:lnSpc>
            </a:pPr>
            <a:r>
              <a:rPr lang="en-US"/>
              <a:t>CLICK TO EDIT TITLE</a:t>
            </a:r>
          </a:p>
        </p:txBody>
      </p:sp>
      <p:sp>
        <p:nvSpPr>
          <p:cNvPr id="3" name="Slide Number Placeholder 3">
            <a:extLst>
              <a:ext uri="{FF2B5EF4-FFF2-40B4-BE49-F238E27FC236}">
                <a16:creationId xmlns:a16="http://schemas.microsoft.com/office/drawing/2014/main" id="{D8C412D9-E3B9-304A-B0F1-B490D3CCFB32}"/>
              </a:ext>
            </a:extLst>
          </p:cNvPr>
          <p:cNvSpPr>
            <a:spLocks noGrp="1"/>
          </p:cNvSpPr>
          <p:nvPr>
            <p:ph type="sldNum" sz="quarter" idx="4"/>
          </p:nvPr>
        </p:nvSpPr>
        <p:spPr>
          <a:xfrm>
            <a:off x="11466736" y="6461563"/>
            <a:ext cx="494015" cy="365125"/>
          </a:xfrm>
          <a:prstGeom prst="rect">
            <a:avLst/>
          </a:prstGeom>
        </p:spPr>
        <p:txBody>
          <a:bodyPr vert="horz" lIns="91440" tIns="45720" rIns="91440" bIns="45720" rtlCol="0" anchor="ctr"/>
          <a:lstStyle>
            <a:lvl1pPr algn="r">
              <a:defRPr sz="700">
                <a:solidFill>
                  <a:schemeClr val="tx1">
                    <a:lumMod val="85000"/>
                    <a:lumOff val="15000"/>
                  </a:schemeClr>
                </a:solidFill>
              </a:defRPr>
            </a:lvl1pPr>
          </a:lstStyle>
          <a:p>
            <a:fld id="{7807D63B-5E22-2649-BDDD-63996CEFF5E5}" type="slidenum">
              <a:rPr lang="en-US" smtClean="0"/>
              <a:pPr/>
              <a:t>‹#›</a:t>
            </a:fld>
            <a:endParaRPr lang="en-US"/>
          </a:p>
        </p:txBody>
      </p:sp>
    </p:spTree>
    <p:extLst>
      <p:ext uri="{BB962C8B-B14F-4D97-AF65-F5344CB8AC3E}">
        <p14:creationId xmlns:p14="http://schemas.microsoft.com/office/powerpoint/2010/main" val="365031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 Sub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617AD-4598-EF4B-B0BE-75ACC7B0D4B5}"/>
              </a:ext>
            </a:extLst>
          </p:cNvPr>
          <p:cNvSpPr>
            <a:spLocks noGrp="1"/>
          </p:cNvSpPr>
          <p:nvPr>
            <p:ph type="title" hasCustomPrompt="1"/>
          </p:nvPr>
        </p:nvSpPr>
        <p:spPr>
          <a:xfrm>
            <a:off x="549941" y="430008"/>
            <a:ext cx="10798737" cy="486287"/>
          </a:xfrm>
          <a:noFill/>
        </p:spPr>
        <p:txBody>
          <a:bodyPr wrap="square" rtlCol="0" anchor="t">
            <a:spAutoFit/>
          </a:bodyPr>
          <a:lstStyle>
            <a:lvl1pPr>
              <a:lnSpc>
                <a:spcPct val="80000"/>
              </a:lnSpc>
              <a:defRPr lang="en-US" sz="3200" spc="-150" dirty="0">
                <a:ea typeface="+mn-ea"/>
              </a:defRPr>
            </a:lvl1pPr>
          </a:lstStyle>
          <a:p>
            <a:pPr marL="0" lvl="0" defTabSz="914400" latinLnBrk="0">
              <a:lnSpc>
                <a:spcPct val="80000"/>
              </a:lnSpc>
            </a:pPr>
            <a:r>
              <a:rPr lang="en-US"/>
              <a:t>CLICK TO EDIT TITLE</a:t>
            </a:r>
          </a:p>
        </p:txBody>
      </p:sp>
      <p:sp>
        <p:nvSpPr>
          <p:cNvPr id="3" name="Text Placeholder 4">
            <a:extLst>
              <a:ext uri="{FF2B5EF4-FFF2-40B4-BE49-F238E27FC236}">
                <a16:creationId xmlns:a16="http://schemas.microsoft.com/office/drawing/2014/main" id="{0BC2B846-04D9-6841-8C40-D0301244C875}"/>
              </a:ext>
            </a:extLst>
          </p:cNvPr>
          <p:cNvSpPr>
            <a:spLocks noGrp="1"/>
          </p:cNvSpPr>
          <p:nvPr>
            <p:ph type="body" sz="quarter" idx="10" hasCustomPrompt="1"/>
          </p:nvPr>
        </p:nvSpPr>
        <p:spPr>
          <a:xfrm>
            <a:off x="549940" y="1266346"/>
            <a:ext cx="10798737" cy="369332"/>
          </a:xfrm>
          <a:noFill/>
        </p:spPr>
        <p:txBody>
          <a:bodyPr wrap="square" rtlCol="0">
            <a:spAutoFit/>
          </a:bodyPr>
          <a:lstStyle>
            <a:lvl1pPr marL="0" indent="0">
              <a:buNone/>
              <a:defRPr lang="en-US" sz="1800" dirty="0">
                <a:solidFill>
                  <a:schemeClr val="tx1">
                    <a:lumMod val="75000"/>
                    <a:lumOff val="25000"/>
                  </a:schemeClr>
                </a:solidFill>
                <a:latin typeface="+mn-lt"/>
                <a:cs typeface="+mn-cs"/>
              </a:defRPr>
            </a:lvl1pPr>
          </a:lstStyle>
          <a:p>
            <a:pPr marL="0" lvl="0" defTabSz="914400" latinLnBrk="0"/>
            <a:r>
              <a:rPr lang="en-US"/>
              <a:t>Click To Edit Master Text Styles</a:t>
            </a:r>
          </a:p>
        </p:txBody>
      </p:sp>
      <p:sp>
        <p:nvSpPr>
          <p:cNvPr id="4" name="Slide Number Placeholder 3">
            <a:extLst>
              <a:ext uri="{FF2B5EF4-FFF2-40B4-BE49-F238E27FC236}">
                <a16:creationId xmlns:a16="http://schemas.microsoft.com/office/drawing/2014/main" id="{F4CFF7CE-8138-854B-A885-FD4D270DE90C}"/>
              </a:ext>
            </a:extLst>
          </p:cNvPr>
          <p:cNvSpPr>
            <a:spLocks noGrp="1"/>
          </p:cNvSpPr>
          <p:nvPr>
            <p:ph type="sldNum" sz="quarter" idx="4"/>
          </p:nvPr>
        </p:nvSpPr>
        <p:spPr>
          <a:xfrm>
            <a:off x="11466736" y="6461563"/>
            <a:ext cx="494015" cy="365125"/>
          </a:xfrm>
          <a:prstGeom prst="rect">
            <a:avLst/>
          </a:prstGeom>
        </p:spPr>
        <p:txBody>
          <a:bodyPr vert="horz" lIns="91440" tIns="45720" rIns="91440" bIns="45720" rtlCol="0" anchor="ctr"/>
          <a:lstStyle>
            <a:lvl1pPr algn="r">
              <a:defRPr sz="700">
                <a:solidFill>
                  <a:schemeClr val="tx1">
                    <a:lumMod val="85000"/>
                    <a:lumOff val="15000"/>
                  </a:schemeClr>
                </a:solidFill>
              </a:defRPr>
            </a:lvl1pPr>
          </a:lstStyle>
          <a:p>
            <a:fld id="{7807D63B-5E22-2649-BDDD-63996CEFF5E5}" type="slidenum">
              <a:rPr lang="en-US" smtClean="0"/>
              <a:pPr/>
              <a:t>‹#›</a:t>
            </a:fld>
            <a:endParaRPr lang="en-US"/>
          </a:p>
        </p:txBody>
      </p:sp>
    </p:spTree>
    <p:extLst>
      <p:ext uri="{BB962C8B-B14F-4D97-AF65-F5344CB8AC3E}">
        <p14:creationId xmlns:p14="http://schemas.microsoft.com/office/powerpoint/2010/main" val="2604387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Empty Slide">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CA31375A-C04C-A643-B9AE-2D89A082C892}"/>
              </a:ext>
            </a:extLst>
          </p:cNvPr>
          <p:cNvSpPr>
            <a:spLocks noGrp="1"/>
          </p:cNvSpPr>
          <p:nvPr>
            <p:ph type="sldNum" sz="quarter" idx="4"/>
          </p:nvPr>
        </p:nvSpPr>
        <p:spPr>
          <a:xfrm>
            <a:off x="11466736" y="6461563"/>
            <a:ext cx="494015" cy="365125"/>
          </a:xfrm>
          <a:prstGeom prst="rect">
            <a:avLst/>
          </a:prstGeom>
        </p:spPr>
        <p:txBody>
          <a:bodyPr vert="horz" lIns="91440" tIns="45720" rIns="91440" bIns="45720" rtlCol="0" anchor="ctr"/>
          <a:lstStyle>
            <a:lvl1pPr algn="r">
              <a:defRPr sz="700">
                <a:solidFill>
                  <a:schemeClr val="tx1">
                    <a:lumMod val="85000"/>
                    <a:lumOff val="15000"/>
                  </a:schemeClr>
                </a:solidFill>
              </a:defRPr>
            </a:lvl1pPr>
          </a:lstStyle>
          <a:p>
            <a:fld id="{7807D63B-5E22-2649-BDDD-63996CEFF5E5}" type="slidenum">
              <a:rPr lang="en-US" smtClean="0"/>
              <a:pPr/>
              <a:t>‹#›</a:t>
            </a:fld>
            <a:endParaRPr lang="en-US"/>
          </a:p>
        </p:txBody>
      </p:sp>
    </p:spTree>
    <p:extLst>
      <p:ext uri="{BB962C8B-B14F-4D97-AF65-F5344CB8AC3E}">
        <p14:creationId xmlns:p14="http://schemas.microsoft.com/office/powerpoint/2010/main" val="1131159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har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617AD-4598-EF4B-B0BE-75ACC7B0D4B5}"/>
              </a:ext>
            </a:extLst>
          </p:cNvPr>
          <p:cNvSpPr>
            <a:spLocks noGrp="1"/>
          </p:cNvSpPr>
          <p:nvPr>
            <p:ph type="title" hasCustomPrompt="1"/>
          </p:nvPr>
        </p:nvSpPr>
        <p:spPr>
          <a:xfrm>
            <a:off x="549942" y="430008"/>
            <a:ext cx="5082374" cy="584775"/>
          </a:xfrm>
          <a:noFill/>
        </p:spPr>
        <p:txBody>
          <a:bodyPr wrap="square" rtlCol="0" anchor="t">
            <a:spAutoFit/>
          </a:bodyPr>
          <a:lstStyle>
            <a:lvl1pPr>
              <a:lnSpc>
                <a:spcPct val="80000"/>
              </a:lnSpc>
              <a:defRPr lang="en-US" sz="4000" spc="-150" dirty="0">
                <a:ea typeface="+mn-ea"/>
              </a:defRPr>
            </a:lvl1pPr>
          </a:lstStyle>
          <a:p>
            <a:pPr marL="0" lvl="0" defTabSz="914400" latinLnBrk="0">
              <a:lnSpc>
                <a:spcPct val="80000"/>
              </a:lnSpc>
            </a:pPr>
            <a:r>
              <a:rPr lang="en-US"/>
              <a:t>CLICK TO EDIT TITLE</a:t>
            </a:r>
          </a:p>
        </p:txBody>
      </p:sp>
      <p:sp>
        <p:nvSpPr>
          <p:cNvPr id="14" name="Text Placeholder 12">
            <a:extLst>
              <a:ext uri="{FF2B5EF4-FFF2-40B4-BE49-F238E27FC236}">
                <a16:creationId xmlns:a16="http://schemas.microsoft.com/office/drawing/2014/main" id="{3808DA71-DC35-F14D-A87E-8422BD7D37B7}"/>
              </a:ext>
            </a:extLst>
          </p:cNvPr>
          <p:cNvSpPr>
            <a:spLocks noGrp="1"/>
          </p:cNvSpPr>
          <p:nvPr>
            <p:ph type="body" sz="quarter" idx="13"/>
          </p:nvPr>
        </p:nvSpPr>
        <p:spPr>
          <a:xfrm>
            <a:off x="549942" y="1032933"/>
            <a:ext cx="5082374" cy="5190067"/>
          </a:xfrm>
        </p:spPr>
        <p:txBody>
          <a:bodyPr wrap="square" lIns="90000">
            <a:noAutofit/>
          </a:bodyPr>
          <a:lstStyle>
            <a:lvl1pPr marL="0" indent="0">
              <a:buNone/>
              <a:defRPr lang="en-GB" sz="1100" dirty="0" smtClean="0">
                <a:solidFill>
                  <a:schemeClr val="tx1"/>
                </a:solidFill>
                <a:latin typeface="+mn-lt"/>
                <a:cs typeface="+mn-cs"/>
              </a:defRPr>
            </a:lvl1pPr>
          </a:lstStyle>
          <a:p>
            <a:pPr marL="0" lvl="0" defTabSz="914400" latinLnBrk="0">
              <a:lnSpc>
                <a:spcPct val="150000"/>
              </a:lnSpc>
            </a:pPr>
            <a:r>
              <a:rPr lang="en-GB"/>
              <a:t>Click to edit Master text styles</a:t>
            </a:r>
          </a:p>
        </p:txBody>
      </p:sp>
      <p:sp>
        <p:nvSpPr>
          <p:cNvPr id="4" name="TextBox 3">
            <a:extLst>
              <a:ext uri="{FF2B5EF4-FFF2-40B4-BE49-F238E27FC236}">
                <a16:creationId xmlns:a16="http://schemas.microsoft.com/office/drawing/2014/main" id="{75BE8FEA-F832-E544-BBB6-28722CB1FA35}"/>
              </a:ext>
            </a:extLst>
          </p:cNvPr>
          <p:cNvSpPr txBox="1"/>
          <p:nvPr userDrawn="1"/>
        </p:nvSpPr>
        <p:spPr>
          <a:xfrm>
            <a:off x="6096000" y="0"/>
            <a:ext cx="6096000" cy="6858000"/>
          </a:xfrm>
          <a:prstGeom prst="rect">
            <a:avLst/>
          </a:prstGeom>
          <a:solidFill>
            <a:srgbClr val="072330"/>
          </a:solidFill>
        </p:spPr>
        <p:txBody>
          <a:bodyPr wrap="square" rtlCol="0">
            <a:spAutoFit/>
          </a:bodyPr>
          <a:lstStyle/>
          <a:p>
            <a:pPr algn="l"/>
            <a:endParaRPr lang="en-US" err="1">
              <a:latin typeface="+mj-lt"/>
            </a:endParaRPr>
          </a:p>
        </p:txBody>
      </p:sp>
      <p:cxnSp>
        <p:nvCxnSpPr>
          <p:cNvPr id="5" name="Straight Connector 4">
            <a:extLst>
              <a:ext uri="{FF2B5EF4-FFF2-40B4-BE49-F238E27FC236}">
                <a16:creationId xmlns:a16="http://schemas.microsoft.com/office/drawing/2014/main" id="{81D1EED2-D908-DF4F-A217-56A33B756E87}"/>
              </a:ext>
            </a:extLst>
          </p:cNvPr>
          <p:cNvCxnSpPr>
            <a:cxnSpLocks/>
          </p:cNvCxnSpPr>
          <p:nvPr userDrawn="1"/>
        </p:nvCxnSpPr>
        <p:spPr>
          <a:xfrm>
            <a:off x="11825964" y="1266093"/>
            <a:ext cx="0" cy="522514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Box 11">
            <a:extLst>
              <a:ext uri="{FF2B5EF4-FFF2-40B4-BE49-F238E27FC236}">
                <a16:creationId xmlns:a16="http://schemas.microsoft.com/office/drawing/2014/main" id="{11E49B83-820C-C944-954E-84567550B8F7}"/>
              </a:ext>
            </a:extLst>
          </p:cNvPr>
          <p:cNvSpPr txBox="1">
            <a:spLocks noChangeArrowheads="1"/>
          </p:cNvSpPr>
          <p:nvPr userDrawn="1"/>
        </p:nvSpPr>
        <p:spPr bwMode="auto">
          <a:xfrm rot="16200000">
            <a:off x="11405015" y="674731"/>
            <a:ext cx="84189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700">
                <a:solidFill>
                  <a:schemeClr val="bg1"/>
                </a:solidFill>
                <a:latin typeface="Arial" panose="020B0604020202020204" pitchFamily="34" charset="0"/>
                <a:ea typeface="Segoe UI Historic" panose="020B0502040204020203" pitchFamily="34" charset="0"/>
                <a:cs typeface="Arial" panose="020B0604020202020204" pitchFamily="34" charset="0"/>
              </a:rPr>
              <a:t>© Digital.ai.2023</a:t>
            </a:r>
          </a:p>
        </p:txBody>
      </p:sp>
      <p:sp>
        <p:nvSpPr>
          <p:cNvPr id="7" name="Chart Placeholder 6">
            <a:extLst>
              <a:ext uri="{FF2B5EF4-FFF2-40B4-BE49-F238E27FC236}">
                <a16:creationId xmlns:a16="http://schemas.microsoft.com/office/drawing/2014/main" id="{B0485454-62E4-C644-9E5A-8EB709E766E9}"/>
              </a:ext>
            </a:extLst>
          </p:cNvPr>
          <p:cNvSpPr>
            <a:spLocks noGrp="1"/>
          </p:cNvSpPr>
          <p:nvPr>
            <p:ph type="chart" sz="quarter" idx="14"/>
          </p:nvPr>
        </p:nvSpPr>
        <p:spPr>
          <a:xfrm>
            <a:off x="6536991" y="430008"/>
            <a:ext cx="4822910" cy="5792992"/>
          </a:xfrm>
          <a:ln>
            <a:noFill/>
          </a:ln>
        </p:spPr>
        <p:txBody>
          <a:bodyPr anchor="ctr"/>
          <a:lstStyle>
            <a:lvl1pPr marL="176213" indent="0" algn="ctr">
              <a:buNone/>
              <a:defRPr>
                <a:solidFill>
                  <a:schemeClr val="bg1"/>
                </a:solidFill>
              </a:defRPr>
            </a:lvl1pPr>
          </a:lstStyle>
          <a:p>
            <a:endParaRPr lang="en-US"/>
          </a:p>
        </p:txBody>
      </p:sp>
      <p:sp>
        <p:nvSpPr>
          <p:cNvPr id="8" name="Slide Number Placeholder 3">
            <a:extLst>
              <a:ext uri="{FF2B5EF4-FFF2-40B4-BE49-F238E27FC236}">
                <a16:creationId xmlns:a16="http://schemas.microsoft.com/office/drawing/2014/main" id="{45FCE80A-1C1F-7B4A-9DD9-35F4E5FE3C31}"/>
              </a:ext>
            </a:extLst>
          </p:cNvPr>
          <p:cNvSpPr>
            <a:spLocks noGrp="1"/>
          </p:cNvSpPr>
          <p:nvPr>
            <p:ph type="sldNum" sz="quarter" idx="4"/>
          </p:nvPr>
        </p:nvSpPr>
        <p:spPr>
          <a:xfrm>
            <a:off x="11466736" y="6461563"/>
            <a:ext cx="494015" cy="365125"/>
          </a:xfrm>
          <a:prstGeom prst="rect">
            <a:avLst/>
          </a:prstGeom>
        </p:spPr>
        <p:txBody>
          <a:bodyPr vert="horz" lIns="91440" tIns="45720" rIns="91440" bIns="45720" rtlCol="0" anchor="ctr"/>
          <a:lstStyle>
            <a:lvl1pPr algn="r">
              <a:defRPr sz="700">
                <a:solidFill>
                  <a:schemeClr val="bg1"/>
                </a:solidFill>
              </a:defRPr>
            </a:lvl1pPr>
          </a:lstStyle>
          <a:p>
            <a:fld id="{7807D63B-5E22-2649-BDDD-63996CEFF5E5}" type="slidenum">
              <a:rPr lang="en-US" smtClean="0"/>
              <a:pPr/>
              <a:t>‹#›</a:t>
            </a:fld>
            <a:endParaRPr lang="en-US"/>
          </a:p>
        </p:txBody>
      </p:sp>
    </p:spTree>
    <p:extLst>
      <p:ext uri="{BB962C8B-B14F-4D97-AF65-F5344CB8AC3E}">
        <p14:creationId xmlns:p14="http://schemas.microsoft.com/office/powerpoint/2010/main" val="3297340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Column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617AD-4598-EF4B-B0BE-75ACC7B0D4B5}"/>
              </a:ext>
            </a:extLst>
          </p:cNvPr>
          <p:cNvSpPr>
            <a:spLocks noGrp="1"/>
          </p:cNvSpPr>
          <p:nvPr>
            <p:ph type="title" hasCustomPrompt="1"/>
          </p:nvPr>
        </p:nvSpPr>
        <p:spPr>
          <a:xfrm>
            <a:off x="549941" y="430008"/>
            <a:ext cx="10798737" cy="584775"/>
          </a:xfrm>
          <a:noFill/>
        </p:spPr>
        <p:txBody>
          <a:bodyPr wrap="square" rtlCol="0" anchor="t">
            <a:spAutoFit/>
          </a:bodyPr>
          <a:lstStyle>
            <a:lvl1pPr>
              <a:lnSpc>
                <a:spcPct val="80000"/>
              </a:lnSpc>
              <a:defRPr lang="en-US" sz="4000" spc="-150" dirty="0">
                <a:ea typeface="+mn-ea"/>
              </a:defRPr>
            </a:lvl1pPr>
          </a:lstStyle>
          <a:p>
            <a:pPr marL="0" lvl="0" defTabSz="914400" latinLnBrk="0">
              <a:lnSpc>
                <a:spcPct val="80000"/>
              </a:lnSpc>
            </a:pPr>
            <a:r>
              <a:rPr lang="en-US"/>
              <a:t>CLICK TO EDIT TITLE</a:t>
            </a:r>
          </a:p>
        </p:txBody>
      </p:sp>
      <p:sp>
        <p:nvSpPr>
          <p:cNvPr id="5" name="Rounded Rectangle 4">
            <a:extLst>
              <a:ext uri="{FF2B5EF4-FFF2-40B4-BE49-F238E27FC236}">
                <a16:creationId xmlns:a16="http://schemas.microsoft.com/office/drawing/2014/main" id="{1F166401-B142-9D4A-B0EA-79AAD6C37FDC}"/>
              </a:ext>
            </a:extLst>
          </p:cNvPr>
          <p:cNvSpPr/>
          <p:nvPr userDrawn="1"/>
        </p:nvSpPr>
        <p:spPr>
          <a:xfrm>
            <a:off x="4080451" y="1420240"/>
            <a:ext cx="3835251" cy="4513632"/>
          </a:xfrm>
          <a:prstGeom prst="roundRect">
            <a:avLst>
              <a:gd name="adj" fmla="val 3731"/>
            </a:avLst>
          </a:prstGeom>
          <a:gradFill flip="none" rotWithShape="1">
            <a:gsLst>
              <a:gs pos="11000">
                <a:srgbClr val="124667"/>
              </a:gs>
              <a:gs pos="70000">
                <a:schemeClr val="accent1"/>
              </a:gs>
            </a:gsLst>
            <a:lin ang="18900000" scaled="1"/>
            <a:tileRect/>
          </a:gradFill>
          <a:ln>
            <a:noFill/>
          </a:ln>
        </p:spPr>
        <p:txBody>
          <a:bodyPr wrap="square" rtlCol="0" anchor="ctr">
            <a:noAutofit/>
          </a:bodyPr>
          <a:lstStyle/>
          <a:p>
            <a:pPr algn="l"/>
            <a:endParaRPr lang="en-US">
              <a:latin typeface="+mj-lt"/>
            </a:endParaRPr>
          </a:p>
        </p:txBody>
      </p:sp>
      <p:sp>
        <p:nvSpPr>
          <p:cNvPr id="10" name="Text Placeholder 12">
            <a:extLst>
              <a:ext uri="{FF2B5EF4-FFF2-40B4-BE49-F238E27FC236}">
                <a16:creationId xmlns:a16="http://schemas.microsoft.com/office/drawing/2014/main" id="{4955E6E2-AC39-1D43-8406-98072793D7FF}"/>
              </a:ext>
            </a:extLst>
          </p:cNvPr>
          <p:cNvSpPr>
            <a:spLocks noGrp="1"/>
          </p:cNvSpPr>
          <p:nvPr>
            <p:ph type="body" sz="quarter" idx="13"/>
          </p:nvPr>
        </p:nvSpPr>
        <p:spPr>
          <a:xfrm>
            <a:off x="549941" y="2192252"/>
            <a:ext cx="3136842" cy="3297441"/>
          </a:xfrm>
        </p:spPr>
        <p:txBody>
          <a:bodyPr wrap="square" lIns="90000">
            <a:noAutofit/>
          </a:bodyPr>
          <a:lstStyle>
            <a:lvl1pPr marL="0" indent="0">
              <a:buNone/>
              <a:defRPr lang="en-GB" sz="1200" dirty="0" smtClean="0">
                <a:solidFill>
                  <a:schemeClr val="tx1"/>
                </a:solidFill>
                <a:latin typeface="+mn-lt"/>
                <a:cs typeface="+mn-cs"/>
              </a:defRPr>
            </a:lvl1pPr>
          </a:lstStyle>
          <a:p>
            <a:pPr marL="0" lvl="0" defTabSz="914400" latinLnBrk="0">
              <a:lnSpc>
                <a:spcPct val="150000"/>
              </a:lnSpc>
            </a:pPr>
            <a:r>
              <a:rPr lang="en-GB"/>
              <a:t>Click to edit Master text styles</a:t>
            </a:r>
          </a:p>
        </p:txBody>
      </p:sp>
      <p:sp>
        <p:nvSpPr>
          <p:cNvPr id="11" name="Text Placeholder 12">
            <a:extLst>
              <a:ext uri="{FF2B5EF4-FFF2-40B4-BE49-F238E27FC236}">
                <a16:creationId xmlns:a16="http://schemas.microsoft.com/office/drawing/2014/main" id="{0894A370-16BE-6344-B823-7C857FD438B0}"/>
              </a:ext>
            </a:extLst>
          </p:cNvPr>
          <p:cNvSpPr>
            <a:spLocks noGrp="1"/>
          </p:cNvSpPr>
          <p:nvPr>
            <p:ph type="body" sz="quarter" idx="14"/>
          </p:nvPr>
        </p:nvSpPr>
        <p:spPr>
          <a:xfrm>
            <a:off x="8309370" y="2192253"/>
            <a:ext cx="3136842" cy="3297440"/>
          </a:xfrm>
        </p:spPr>
        <p:txBody>
          <a:bodyPr wrap="square" lIns="90000">
            <a:noAutofit/>
          </a:bodyPr>
          <a:lstStyle>
            <a:lvl1pPr marL="0" indent="0">
              <a:buNone/>
              <a:defRPr lang="en-GB" sz="1200" dirty="0" smtClean="0">
                <a:solidFill>
                  <a:schemeClr val="tx1"/>
                </a:solidFill>
                <a:latin typeface="+mn-lt"/>
                <a:cs typeface="+mn-cs"/>
              </a:defRPr>
            </a:lvl1pPr>
          </a:lstStyle>
          <a:p>
            <a:pPr marL="0" lvl="0" defTabSz="914400" latinLnBrk="0">
              <a:lnSpc>
                <a:spcPct val="150000"/>
              </a:lnSpc>
            </a:pPr>
            <a:r>
              <a:rPr lang="en-GB"/>
              <a:t>Click to edit Master text styles</a:t>
            </a:r>
          </a:p>
        </p:txBody>
      </p:sp>
      <p:sp>
        <p:nvSpPr>
          <p:cNvPr id="12" name="Text Placeholder 12">
            <a:extLst>
              <a:ext uri="{FF2B5EF4-FFF2-40B4-BE49-F238E27FC236}">
                <a16:creationId xmlns:a16="http://schemas.microsoft.com/office/drawing/2014/main" id="{E2195EE8-BF6F-1649-A6B1-7852A8FDA2E6}"/>
              </a:ext>
            </a:extLst>
          </p:cNvPr>
          <p:cNvSpPr>
            <a:spLocks noGrp="1"/>
          </p:cNvSpPr>
          <p:nvPr>
            <p:ph type="body" sz="quarter" idx="15"/>
          </p:nvPr>
        </p:nvSpPr>
        <p:spPr>
          <a:xfrm>
            <a:off x="4429655" y="2192253"/>
            <a:ext cx="3136842" cy="3297440"/>
          </a:xfrm>
        </p:spPr>
        <p:txBody>
          <a:bodyPr wrap="square" lIns="90000">
            <a:noAutofit/>
          </a:bodyPr>
          <a:lstStyle>
            <a:lvl1pPr marL="0" indent="0">
              <a:buNone/>
              <a:defRPr lang="en-GB" sz="1200" dirty="0" smtClean="0">
                <a:solidFill>
                  <a:schemeClr val="bg1"/>
                </a:solidFill>
                <a:latin typeface="+mn-lt"/>
                <a:cs typeface="+mn-cs"/>
              </a:defRPr>
            </a:lvl1pPr>
          </a:lstStyle>
          <a:p>
            <a:pPr marL="0" lvl="0" defTabSz="914400" latinLnBrk="0">
              <a:lnSpc>
                <a:spcPct val="150000"/>
              </a:lnSpc>
            </a:pPr>
            <a:r>
              <a:rPr lang="en-GB"/>
              <a:t>Click to edit Master text styles</a:t>
            </a:r>
          </a:p>
        </p:txBody>
      </p:sp>
      <p:sp>
        <p:nvSpPr>
          <p:cNvPr id="13" name="Text Placeholder 12">
            <a:extLst>
              <a:ext uri="{FF2B5EF4-FFF2-40B4-BE49-F238E27FC236}">
                <a16:creationId xmlns:a16="http://schemas.microsoft.com/office/drawing/2014/main" id="{E24F1616-7C9F-5548-81A0-74615FE8B861}"/>
              </a:ext>
            </a:extLst>
          </p:cNvPr>
          <p:cNvSpPr>
            <a:spLocks noGrp="1"/>
          </p:cNvSpPr>
          <p:nvPr>
            <p:ph type="body" sz="quarter" idx="16" hasCustomPrompt="1"/>
          </p:nvPr>
        </p:nvSpPr>
        <p:spPr>
          <a:xfrm>
            <a:off x="549940" y="1709838"/>
            <a:ext cx="3136842" cy="400110"/>
          </a:xfrm>
        </p:spPr>
        <p:txBody>
          <a:bodyPr wrap="square" anchor="b">
            <a:spAutoFit/>
          </a:bodyPr>
          <a:lstStyle>
            <a:lvl1pPr marL="0" indent="0">
              <a:buNone/>
              <a:defRPr lang="en-GB" sz="2000" b="1" spc="-150" dirty="0">
                <a:solidFill>
                  <a:srgbClr val="649A3C"/>
                </a:solidFill>
              </a:defRPr>
            </a:lvl1pPr>
          </a:lstStyle>
          <a:p>
            <a:pPr marL="0" lvl="0" defTabSz="914400" latinLnBrk="0"/>
            <a:r>
              <a:rPr lang="en-GB"/>
              <a:t>CLICK TO EDIT</a:t>
            </a:r>
          </a:p>
        </p:txBody>
      </p:sp>
      <p:sp>
        <p:nvSpPr>
          <p:cNvPr id="14" name="Text Placeholder 12">
            <a:extLst>
              <a:ext uri="{FF2B5EF4-FFF2-40B4-BE49-F238E27FC236}">
                <a16:creationId xmlns:a16="http://schemas.microsoft.com/office/drawing/2014/main" id="{DDAAC77F-E810-0245-A339-F539D83553DB}"/>
              </a:ext>
            </a:extLst>
          </p:cNvPr>
          <p:cNvSpPr>
            <a:spLocks noGrp="1"/>
          </p:cNvSpPr>
          <p:nvPr>
            <p:ph type="body" sz="quarter" idx="17" hasCustomPrompt="1"/>
          </p:nvPr>
        </p:nvSpPr>
        <p:spPr>
          <a:xfrm>
            <a:off x="8309370" y="1709838"/>
            <a:ext cx="3136842" cy="400110"/>
          </a:xfrm>
        </p:spPr>
        <p:txBody>
          <a:bodyPr wrap="square" anchor="b">
            <a:spAutoFit/>
          </a:bodyPr>
          <a:lstStyle>
            <a:lvl1pPr marL="0" indent="0">
              <a:buNone/>
              <a:defRPr lang="en-GB" sz="2000" b="1" spc="-150" dirty="0">
                <a:solidFill>
                  <a:srgbClr val="649A3C"/>
                </a:solidFill>
              </a:defRPr>
            </a:lvl1pPr>
          </a:lstStyle>
          <a:p>
            <a:pPr marL="0" lvl="0" defTabSz="914400" latinLnBrk="0"/>
            <a:r>
              <a:rPr lang="en-GB"/>
              <a:t>CLICK TO EDIT</a:t>
            </a:r>
          </a:p>
        </p:txBody>
      </p:sp>
      <p:sp>
        <p:nvSpPr>
          <p:cNvPr id="15" name="Text Placeholder 12">
            <a:extLst>
              <a:ext uri="{FF2B5EF4-FFF2-40B4-BE49-F238E27FC236}">
                <a16:creationId xmlns:a16="http://schemas.microsoft.com/office/drawing/2014/main" id="{66C153FA-F764-354C-814D-0D2B3FF18EC6}"/>
              </a:ext>
            </a:extLst>
          </p:cNvPr>
          <p:cNvSpPr>
            <a:spLocks noGrp="1"/>
          </p:cNvSpPr>
          <p:nvPr>
            <p:ph type="body" sz="quarter" idx="18" hasCustomPrompt="1"/>
          </p:nvPr>
        </p:nvSpPr>
        <p:spPr>
          <a:xfrm>
            <a:off x="4429655" y="1709838"/>
            <a:ext cx="3136842" cy="400110"/>
          </a:xfrm>
        </p:spPr>
        <p:txBody>
          <a:bodyPr wrap="square" anchor="b">
            <a:spAutoFit/>
          </a:bodyPr>
          <a:lstStyle>
            <a:lvl1pPr marL="0" indent="0">
              <a:buNone/>
              <a:defRPr lang="en-GB" sz="2000" b="1" spc="-150" dirty="0">
                <a:solidFill>
                  <a:schemeClr val="bg1"/>
                </a:solidFill>
              </a:defRPr>
            </a:lvl1pPr>
          </a:lstStyle>
          <a:p>
            <a:pPr marL="0" lvl="0" defTabSz="914400" latinLnBrk="0"/>
            <a:r>
              <a:rPr lang="en-GB"/>
              <a:t>CLICK TO EDIT</a:t>
            </a:r>
          </a:p>
        </p:txBody>
      </p:sp>
      <p:sp>
        <p:nvSpPr>
          <p:cNvPr id="16" name="Slide Number Placeholder 3">
            <a:extLst>
              <a:ext uri="{FF2B5EF4-FFF2-40B4-BE49-F238E27FC236}">
                <a16:creationId xmlns:a16="http://schemas.microsoft.com/office/drawing/2014/main" id="{54687646-32EB-EC41-A160-AD256CAE0F01}"/>
              </a:ext>
            </a:extLst>
          </p:cNvPr>
          <p:cNvSpPr>
            <a:spLocks noGrp="1"/>
          </p:cNvSpPr>
          <p:nvPr>
            <p:ph type="sldNum" sz="quarter" idx="4"/>
          </p:nvPr>
        </p:nvSpPr>
        <p:spPr>
          <a:xfrm>
            <a:off x="11466736" y="6461563"/>
            <a:ext cx="494015" cy="365125"/>
          </a:xfrm>
          <a:prstGeom prst="rect">
            <a:avLst/>
          </a:prstGeom>
        </p:spPr>
        <p:txBody>
          <a:bodyPr vert="horz" lIns="91440" tIns="45720" rIns="91440" bIns="45720" rtlCol="0" anchor="ctr"/>
          <a:lstStyle>
            <a:lvl1pPr algn="r">
              <a:defRPr sz="700">
                <a:solidFill>
                  <a:schemeClr val="tx1">
                    <a:lumMod val="85000"/>
                    <a:lumOff val="15000"/>
                  </a:schemeClr>
                </a:solidFill>
              </a:defRPr>
            </a:lvl1pPr>
          </a:lstStyle>
          <a:p>
            <a:fld id="{7807D63B-5E22-2649-BDDD-63996CEFF5E5}" type="slidenum">
              <a:rPr lang="en-US" smtClean="0"/>
              <a:pPr/>
              <a:t>‹#›</a:t>
            </a:fld>
            <a:endParaRPr lang="en-US"/>
          </a:p>
        </p:txBody>
      </p:sp>
    </p:spTree>
    <p:extLst>
      <p:ext uri="{BB962C8B-B14F-4D97-AF65-F5344CB8AC3E}">
        <p14:creationId xmlns:p14="http://schemas.microsoft.com/office/powerpoint/2010/main" val="1261537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ab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617AD-4598-EF4B-B0BE-75ACC7B0D4B5}"/>
              </a:ext>
            </a:extLst>
          </p:cNvPr>
          <p:cNvSpPr>
            <a:spLocks noGrp="1"/>
          </p:cNvSpPr>
          <p:nvPr>
            <p:ph type="title" hasCustomPrompt="1"/>
          </p:nvPr>
        </p:nvSpPr>
        <p:spPr>
          <a:xfrm>
            <a:off x="549940" y="1451413"/>
            <a:ext cx="3136843" cy="1077218"/>
          </a:xfrm>
          <a:noFill/>
        </p:spPr>
        <p:txBody>
          <a:bodyPr wrap="square" rtlCol="0" anchor="t">
            <a:spAutoFit/>
          </a:bodyPr>
          <a:lstStyle>
            <a:lvl1pPr>
              <a:lnSpc>
                <a:spcPct val="80000"/>
              </a:lnSpc>
              <a:defRPr lang="en-US" sz="4000" spc="-150" dirty="0">
                <a:ea typeface="+mn-ea"/>
              </a:defRPr>
            </a:lvl1pPr>
          </a:lstStyle>
          <a:p>
            <a:pPr marL="0" lvl="0" defTabSz="914400" latinLnBrk="0">
              <a:lnSpc>
                <a:spcPct val="80000"/>
              </a:lnSpc>
            </a:pPr>
            <a:r>
              <a:rPr lang="en-US"/>
              <a:t>CLICK TO EDIT TITLE</a:t>
            </a:r>
          </a:p>
        </p:txBody>
      </p:sp>
      <p:sp>
        <p:nvSpPr>
          <p:cNvPr id="5" name="Text Placeholder 12">
            <a:extLst>
              <a:ext uri="{FF2B5EF4-FFF2-40B4-BE49-F238E27FC236}">
                <a16:creationId xmlns:a16="http://schemas.microsoft.com/office/drawing/2014/main" id="{0CBB2189-63D1-F440-BA4D-30DC1EBC32CD}"/>
              </a:ext>
            </a:extLst>
          </p:cNvPr>
          <p:cNvSpPr>
            <a:spLocks noGrp="1"/>
          </p:cNvSpPr>
          <p:nvPr>
            <p:ph type="body" sz="quarter" idx="13"/>
          </p:nvPr>
        </p:nvSpPr>
        <p:spPr>
          <a:xfrm>
            <a:off x="549942" y="2528631"/>
            <a:ext cx="3136842" cy="2568663"/>
          </a:xfrm>
        </p:spPr>
        <p:txBody>
          <a:bodyPr wrap="square" lIns="90000">
            <a:noAutofit/>
          </a:bodyPr>
          <a:lstStyle>
            <a:lvl1pPr marL="0" indent="0">
              <a:lnSpc>
                <a:spcPct val="100000"/>
              </a:lnSpc>
              <a:buNone/>
              <a:defRPr lang="en-GB" sz="1800" dirty="0" smtClean="0">
                <a:solidFill>
                  <a:schemeClr val="tx1"/>
                </a:solidFill>
                <a:latin typeface="+mn-lt"/>
                <a:cs typeface="+mn-cs"/>
              </a:defRPr>
            </a:lvl1pPr>
          </a:lstStyle>
          <a:p>
            <a:pPr marL="0" lvl="0" defTabSz="914400" latinLnBrk="0">
              <a:lnSpc>
                <a:spcPct val="150000"/>
              </a:lnSpc>
            </a:pPr>
            <a:r>
              <a:rPr lang="en-GB"/>
              <a:t>Click to edit Master text styles</a:t>
            </a:r>
          </a:p>
        </p:txBody>
      </p:sp>
      <p:sp>
        <p:nvSpPr>
          <p:cNvPr id="7" name="Table Placeholder 6">
            <a:extLst>
              <a:ext uri="{FF2B5EF4-FFF2-40B4-BE49-F238E27FC236}">
                <a16:creationId xmlns:a16="http://schemas.microsoft.com/office/drawing/2014/main" id="{91BD635E-AB8D-B748-B4FE-4DFB8B0572CC}"/>
              </a:ext>
            </a:extLst>
          </p:cNvPr>
          <p:cNvSpPr>
            <a:spLocks noGrp="1"/>
          </p:cNvSpPr>
          <p:nvPr>
            <p:ph type="tbl" sz="quarter" idx="14"/>
          </p:nvPr>
        </p:nvSpPr>
        <p:spPr>
          <a:xfrm>
            <a:off x="4241260" y="466929"/>
            <a:ext cx="7130374" cy="5992238"/>
          </a:xfrm>
        </p:spPr>
        <p:txBody>
          <a:bodyPr anchor="ctr"/>
          <a:lstStyle>
            <a:lvl1pPr marL="9525" indent="0" algn="ctr">
              <a:buNone/>
              <a:tabLst/>
              <a:defRPr>
                <a:solidFill>
                  <a:schemeClr val="tx1"/>
                </a:solidFill>
              </a:defRPr>
            </a:lvl1pPr>
          </a:lstStyle>
          <a:p>
            <a:endParaRPr lang="en-US"/>
          </a:p>
        </p:txBody>
      </p:sp>
      <p:sp>
        <p:nvSpPr>
          <p:cNvPr id="6" name="Slide Number Placeholder 3">
            <a:extLst>
              <a:ext uri="{FF2B5EF4-FFF2-40B4-BE49-F238E27FC236}">
                <a16:creationId xmlns:a16="http://schemas.microsoft.com/office/drawing/2014/main" id="{379C5AD2-BA6D-FB49-B2D0-4C01FEB42006}"/>
              </a:ext>
            </a:extLst>
          </p:cNvPr>
          <p:cNvSpPr>
            <a:spLocks noGrp="1"/>
          </p:cNvSpPr>
          <p:nvPr>
            <p:ph type="sldNum" sz="quarter" idx="4"/>
          </p:nvPr>
        </p:nvSpPr>
        <p:spPr>
          <a:xfrm>
            <a:off x="11466736" y="6461563"/>
            <a:ext cx="494015" cy="365125"/>
          </a:xfrm>
          <a:prstGeom prst="rect">
            <a:avLst/>
          </a:prstGeom>
        </p:spPr>
        <p:txBody>
          <a:bodyPr vert="horz" lIns="91440" tIns="45720" rIns="91440" bIns="45720" rtlCol="0" anchor="ctr"/>
          <a:lstStyle>
            <a:lvl1pPr algn="r">
              <a:defRPr sz="700">
                <a:solidFill>
                  <a:schemeClr val="tx1">
                    <a:lumMod val="85000"/>
                    <a:lumOff val="15000"/>
                  </a:schemeClr>
                </a:solidFill>
              </a:defRPr>
            </a:lvl1pPr>
          </a:lstStyle>
          <a:p>
            <a:fld id="{7807D63B-5E22-2649-BDDD-63996CEFF5E5}" type="slidenum">
              <a:rPr lang="en-US" smtClean="0"/>
              <a:pPr/>
              <a:t>‹#›</a:t>
            </a:fld>
            <a:endParaRPr lang="en-US"/>
          </a:p>
        </p:txBody>
      </p:sp>
    </p:spTree>
    <p:extLst>
      <p:ext uri="{BB962C8B-B14F-4D97-AF65-F5344CB8AC3E}">
        <p14:creationId xmlns:p14="http://schemas.microsoft.com/office/powerpoint/2010/main" val="3604762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olumn Slide">
    <p:spTree>
      <p:nvGrpSpPr>
        <p:cNvPr id="1" name=""/>
        <p:cNvGrpSpPr/>
        <p:nvPr/>
      </p:nvGrpSpPr>
      <p:grpSpPr>
        <a:xfrm>
          <a:off x="0" y="0"/>
          <a:ext cx="0" cy="0"/>
          <a:chOff x="0" y="0"/>
          <a:chExt cx="0" cy="0"/>
        </a:xfrm>
      </p:grpSpPr>
      <p:sp>
        <p:nvSpPr>
          <p:cNvPr id="17" name="Text Placeholder 12">
            <a:extLst>
              <a:ext uri="{FF2B5EF4-FFF2-40B4-BE49-F238E27FC236}">
                <a16:creationId xmlns:a16="http://schemas.microsoft.com/office/drawing/2014/main" id="{A362C4E3-61FC-C34E-9102-05765F313854}"/>
              </a:ext>
            </a:extLst>
          </p:cNvPr>
          <p:cNvSpPr>
            <a:spLocks noGrp="1"/>
          </p:cNvSpPr>
          <p:nvPr>
            <p:ph type="body" sz="quarter" idx="16" hasCustomPrompt="1"/>
          </p:nvPr>
        </p:nvSpPr>
        <p:spPr>
          <a:xfrm>
            <a:off x="8133941" y="792190"/>
            <a:ext cx="3226340" cy="387798"/>
          </a:xfrm>
          <a:noFill/>
        </p:spPr>
        <p:txBody>
          <a:bodyPr vert="horz" wrap="square" lIns="91440" tIns="45720" rIns="91440" bIns="45720" rtlCol="0" anchor="b" anchorCtr="0">
            <a:spAutoFit/>
          </a:bodyPr>
          <a:lstStyle>
            <a:lvl1pPr marL="0" indent="0">
              <a:lnSpc>
                <a:spcPct val="100000"/>
              </a:lnSpc>
              <a:buNone/>
              <a:defRPr lang="en-GB" sz="2400" b="1" i="0" spc="-150" dirty="0">
                <a:solidFill>
                  <a:schemeClr val="accent1"/>
                </a:solidFill>
              </a:defRPr>
            </a:lvl1pPr>
          </a:lstStyle>
          <a:p>
            <a:pPr marL="0" lvl="0" defTabSz="914400" latinLnBrk="0">
              <a:lnSpc>
                <a:spcPct val="80000"/>
              </a:lnSpc>
              <a:spcBef>
                <a:spcPct val="0"/>
              </a:spcBef>
              <a:spcAft>
                <a:spcPct val="0"/>
              </a:spcAft>
            </a:pPr>
            <a:r>
              <a:rPr lang="en-GB"/>
              <a:t>CLICK TO EDIT</a:t>
            </a:r>
          </a:p>
        </p:txBody>
      </p:sp>
      <p:sp>
        <p:nvSpPr>
          <p:cNvPr id="2" name="Title 1">
            <a:extLst>
              <a:ext uri="{FF2B5EF4-FFF2-40B4-BE49-F238E27FC236}">
                <a16:creationId xmlns:a16="http://schemas.microsoft.com/office/drawing/2014/main" id="{6DE617AD-4598-EF4B-B0BE-75ACC7B0D4B5}"/>
              </a:ext>
            </a:extLst>
          </p:cNvPr>
          <p:cNvSpPr>
            <a:spLocks noGrp="1"/>
          </p:cNvSpPr>
          <p:nvPr>
            <p:ph type="title" hasCustomPrompt="1"/>
          </p:nvPr>
        </p:nvSpPr>
        <p:spPr>
          <a:xfrm>
            <a:off x="549940" y="1451413"/>
            <a:ext cx="2512653" cy="1569660"/>
          </a:xfrm>
          <a:noFill/>
        </p:spPr>
        <p:txBody>
          <a:bodyPr wrap="square" rtlCol="0" anchor="b">
            <a:spAutoFit/>
          </a:bodyPr>
          <a:lstStyle>
            <a:lvl1pPr>
              <a:lnSpc>
                <a:spcPct val="80000"/>
              </a:lnSpc>
              <a:defRPr lang="en-US" sz="4000" spc="-150" dirty="0">
                <a:ea typeface="+mn-ea"/>
              </a:defRPr>
            </a:lvl1pPr>
          </a:lstStyle>
          <a:p>
            <a:pPr marL="0" lvl="0" defTabSz="914400" latinLnBrk="0">
              <a:lnSpc>
                <a:spcPct val="80000"/>
              </a:lnSpc>
            </a:pPr>
            <a:r>
              <a:rPr lang="en-US"/>
              <a:t>TWO</a:t>
            </a:r>
            <a:br>
              <a:rPr lang="en-US"/>
            </a:br>
            <a:r>
              <a:rPr lang="en-US"/>
              <a:t>COLUMN</a:t>
            </a:r>
            <a:br>
              <a:rPr lang="en-US"/>
            </a:br>
            <a:r>
              <a:rPr lang="en-US"/>
              <a:t>SLIDE</a:t>
            </a:r>
          </a:p>
        </p:txBody>
      </p:sp>
      <p:sp>
        <p:nvSpPr>
          <p:cNvPr id="5" name="Text Placeholder 12">
            <a:extLst>
              <a:ext uri="{FF2B5EF4-FFF2-40B4-BE49-F238E27FC236}">
                <a16:creationId xmlns:a16="http://schemas.microsoft.com/office/drawing/2014/main" id="{0CBB2189-63D1-F440-BA4D-30DC1EBC32CD}"/>
              </a:ext>
            </a:extLst>
          </p:cNvPr>
          <p:cNvSpPr>
            <a:spLocks noGrp="1"/>
          </p:cNvSpPr>
          <p:nvPr>
            <p:ph type="body" sz="quarter" idx="13"/>
          </p:nvPr>
        </p:nvSpPr>
        <p:spPr>
          <a:xfrm>
            <a:off x="549940" y="3021073"/>
            <a:ext cx="2512653" cy="1093727"/>
          </a:xfrm>
        </p:spPr>
        <p:txBody>
          <a:bodyPr wrap="square" lIns="90000">
            <a:noAutofit/>
          </a:bodyPr>
          <a:lstStyle>
            <a:lvl1pPr marL="0" indent="0">
              <a:lnSpc>
                <a:spcPct val="100000"/>
              </a:lnSpc>
              <a:buNone/>
              <a:defRPr lang="en-GB" sz="1800" dirty="0" smtClean="0">
                <a:solidFill>
                  <a:schemeClr val="tx1"/>
                </a:solidFill>
                <a:latin typeface="+mn-lt"/>
                <a:cs typeface="+mn-cs"/>
              </a:defRPr>
            </a:lvl1pPr>
          </a:lstStyle>
          <a:p>
            <a:pPr marL="0" lvl="0" defTabSz="914400" latinLnBrk="0">
              <a:lnSpc>
                <a:spcPct val="150000"/>
              </a:lnSpc>
            </a:pPr>
            <a:r>
              <a:rPr lang="en-GB"/>
              <a:t>Click to edit Master text styles</a:t>
            </a:r>
          </a:p>
        </p:txBody>
      </p:sp>
      <p:pic>
        <p:nvPicPr>
          <p:cNvPr id="6" name="Picture 5" descr="A computer on a table&#10;&#10;Description automatically generated with medium confidence">
            <a:extLst>
              <a:ext uri="{FF2B5EF4-FFF2-40B4-BE49-F238E27FC236}">
                <a16:creationId xmlns:a16="http://schemas.microsoft.com/office/drawing/2014/main" id="{27A511C7-6B97-6F4B-9929-71EB8A97B99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3521414" y="0"/>
            <a:ext cx="4143982" cy="6858000"/>
          </a:xfrm>
          <a:prstGeom prst="rect">
            <a:avLst/>
          </a:prstGeom>
        </p:spPr>
      </p:pic>
      <p:sp>
        <p:nvSpPr>
          <p:cNvPr id="10" name="Rounded Rectangle 51">
            <a:extLst>
              <a:ext uri="{FF2B5EF4-FFF2-40B4-BE49-F238E27FC236}">
                <a16:creationId xmlns:a16="http://schemas.microsoft.com/office/drawing/2014/main" id="{B1AAFD95-ACB2-7E4D-9BEC-F8CBB90AE360}"/>
              </a:ext>
            </a:extLst>
          </p:cNvPr>
          <p:cNvSpPr/>
          <p:nvPr userDrawn="1"/>
        </p:nvSpPr>
        <p:spPr>
          <a:xfrm rot="16200000">
            <a:off x="2164406" y="1357008"/>
            <a:ext cx="6858001" cy="4143980"/>
          </a:xfrm>
          <a:prstGeom prst="rect">
            <a:avLst/>
          </a:prstGeom>
          <a:gradFill flip="none" rotWithShape="1">
            <a:gsLst>
              <a:gs pos="0">
                <a:srgbClr val="072330">
                  <a:alpha val="77516"/>
                </a:srgbClr>
              </a:gs>
              <a:gs pos="97000">
                <a:srgbClr val="051521">
                  <a:alpha val="90752"/>
                </a:srgbClr>
              </a:gs>
            </a:gsLst>
            <a:lin ang="10800000" scaled="1"/>
            <a:tileRect/>
          </a:gra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5" name="Text Placeholder 12">
            <a:extLst>
              <a:ext uri="{FF2B5EF4-FFF2-40B4-BE49-F238E27FC236}">
                <a16:creationId xmlns:a16="http://schemas.microsoft.com/office/drawing/2014/main" id="{5CE2CB95-F4DF-AF40-A0BE-C01EE489C2E9}"/>
              </a:ext>
            </a:extLst>
          </p:cNvPr>
          <p:cNvSpPr>
            <a:spLocks noGrp="1"/>
          </p:cNvSpPr>
          <p:nvPr>
            <p:ph type="body" sz="quarter" idx="14" hasCustomPrompt="1"/>
          </p:nvPr>
        </p:nvSpPr>
        <p:spPr>
          <a:xfrm>
            <a:off x="3980233" y="792190"/>
            <a:ext cx="3226340" cy="387798"/>
          </a:xfrm>
          <a:noFill/>
        </p:spPr>
        <p:txBody>
          <a:bodyPr vert="horz" wrap="square" lIns="91440" tIns="45720" rIns="91440" bIns="45720" rtlCol="0" anchor="b" anchorCtr="0">
            <a:spAutoFit/>
          </a:bodyPr>
          <a:lstStyle>
            <a:lvl1pPr marL="0" indent="0">
              <a:lnSpc>
                <a:spcPct val="100000"/>
              </a:lnSpc>
              <a:buNone/>
              <a:defRPr lang="en-GB" sz="2400" b="1" i="0" spc="-150" dirty="0">
                <a:solidFill>
                  <a:schemeClr val="accent1"/>
                </a:solidFill>
              </a:defRPr>
            </a:lvl1pPr>
          </a:lstStyle>
          <a:p>
            <a:pPr marL="0" lvl="0" defTabSz="914400" latinLnBrk="0">
              <a:lnSpc>
                <a:spcPct val="80000"/>
              </a:lnSpc>
              <a:spcBef>
                <a:spcPct val="0"/>
              </a:spcBef>
              <a:spcAft>
                <a:spcPct val="0"/>
              </a:spcAft>
            </a:pPr>
            <a:r>
              <a:rPr lang="en-GB"/>
              <a:t>CLICK TO EDIT</a:t>
            </a:r>
          </a:p>
        </p:txBody>
      </p:sp>
      <p:sp>
        <p:nvSpPr>
          <p:cNvPr id="16" name="Text Placeholder 12">
            <a:extLst>
              <a:ext uri="{FF2B5EF4-FFF2-40B4-BE49-F238E27FC236}">
                <a16:creationId xmlns:a16="http://schemas.microsoft.com/office/drawing/2014/main" id="{27B4FCB2-43F6-C448-BCBD-43CC4C3D0593}"/>
              </a:ext>
            </a:extLst>
          </p:cNvPr>
          <p:cNvSpPr>
            <a:spLocks noGrp="1"/>
          </p:cNvSpPr>
          <p:nvPr>
            <p:ph type="body" sz="quarter" idx="15"/>
          </p:nvPr>
        </p:nvSpPr>
        <p:spPr>
          <a:xfrm>
            <a:off x="3980233" y="1296455"/>
            <a:ext cx="3226340" cy="335092"/>
          </a:xfrm>
        </p:spPr>
        <p:txBody>
          <a:bodyPr wrap="square">
            <a:spAutoFit/>
          </a:bodyPr>
          <a:lstStyle>
            <a:lvl1pPr marL="0" indent="0">
              <a:buNone/>
              <a:defRPr lang="en-GB" sz="1200" dirty="0">
                <a:solidFill>
                  <a:schemeClr val="bg1"/>
                </a:solidFill>
                <a:latin typeface="+mn-lt"/>
                <a:cs typeface="+mn-cs"/>
              </a:defRPr>
            </a:lvl1pPr>
          </a:lstStyle>
          <a:p>
            <a:pPr marL="0" lvl="0" defTabSz="914400" latinLnBrk="0">
              <a:lnSpc>
                <a:spcPct val="150000"/>
              </a:lnSpc>
            </a:pPr>
            <a:r>
              <a:rPr lang="en-GB"/>
              <a:t>Click to edit</a:t>
            </a:r>
          </a:p>
        </p:txBody>
      </p:sp>
      <p:sp>
        <p:nvSpPr>
          <p:cNvPr id="18" name="Text Placeholder 12">
            <a:extLst>
              <a:ext uri="{FF2B5EF4-FFF2-40B4-BE49-F238E27FC236}">
                <a16:creationId xmlns:a16="http://schemas.microsoft.com/office/drawing/2014/main" id="{7F8F2350-BFE2-7648-B9FC-0198738CD8D5}"/>
              </a:ext>
            </a:extLst>
          </p:cNvPr>
          <p:cNvSpPr>
            <a:spLocks noGrp="1"/>
          </p:cNvSpPr>
          <p:nvPr>
            <p:ph type="body" sz="quarter" idx="17"/>
          </p:nvPr>
        </p:nvSpPr>
        <p:spPr>
          <a:xfrm>
            <a:off x="8133941" y="1296455"/>
            <a:ext cx="3226340" cy="335092"/>
          </a:xfrm>
        </p:spPr>
        <p:txBody>
          <a:bodyPr wrap="square">
            <a:spAutoFit/>
          </a:bodyPr>
          <a:lstStyle>
            <a:lvl1pPr marL="0" indent="0">
              <a:buNone/>
              <a:defRPr lang="en-GB" sz="1200" dirty="0">
                <a:solidFill>
                  <a:schemeClr val="tx1"/>
                </a:solidFill>
                <a:latin typeface="+mn-lt"/>
                <a:cs typeface="+mn-cs"/>
              </a:defRPr>
            </a:lvl1pPr>
          </a:lstStyle>
          <a:p>
            <a:pPr marL="0" lvl="0" defTabSz="914400" latinLnBrk="0">
              <a:lnSpc>
                <a:spcPct val="150000"/>
              </a:lnSpc>
            </a:pPr>
            <a:r>
              <a:rPr lang="en-GB"/>
              <a:t>Click to edit</a:t>
            </a:r>
          </a:p>
        </p:txBody>
      </p:sp>
      <p:sp>
        <p:nvSpPr>
          <p:cNvPr id="11" name="Slide Number Placeholder 3">
            <a:extLst>
              <a:ext uri="{FF2B5EF4-FFF2-40B4-BE49-F238E27FC236}">
                <a16:creationId xmlns:a16="http://schemas.microsoft.com/office/drawing/2014/main" id="{18B4291D-3EC8-B64B-B0AB-8C524DEBBD4E}"/>
              </a:ext>
            </a:extLst>
          </p:cNvPr>
          <p:cNvSpPr>
            <a:spLocks noGrp="1"/>
          </p:cNvSpPr>
          <p:nvPr>
            <p:ph type="sldNum" sz="quarter" idx="4"/>
          </p:nvPr>
        </p:nvSpPr>
        <p:spPr>
          <a:xfrm>
            <a:off x="11466736" y="6461563"/>
            <a:ext cx="494015" cy="365125"/>
          </a:xfrm>
          <a:prstGeom prst="rect">
            <a:avLst/>
          </a:prstGeom>
        </p:spPr>
        <p:txBody>
          <a:bodyPr vert="horz" lIns="91440" tIns="45720" rIns="91440" bIns="45720" rtlCol="0" anchor="ctr"/>
          <a:lstStyle>
            <a:lvl1pPr algn="r">
              <a:defRPr sz="700">
                <a:solidFill>
                  <a:schemeClr val="tx1">
                    <a:lumMod val="85000"/>
                    <a:lumOff val="15000"/>
                  </a:schemeClr>
                </a:solidFill>
              </a:defRPr>
            </a:lvl1pPr>
          </a:lstStyle>
          <a:p>
            <a:fld id="{7807D63B-5E22-2649-BDDD-63996CEFF5E5}" type="slidenum">
              <a:rPr lang="en-US" smtClean="0"/>
              <a:pPr/>
              <a:t>‹#›</a:t>
            </a:fld>
            <a:endParaRPr lang="en-US"/>
          </a:p>
        </p:txBody>
      </p:sp>
    </p:spTree>
    <p:extLst>
      <p:ext uri="{BB962C8B-B14F-4D97-AF65-F5344CB8AC3E}">
        <p14:creationId xmlns:p14="http://schemas.microsoft.com/office/powerpoint/2010/main" val="1389717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nfographic slid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B0F13BA3-EB1F-2741-8389-FD7B03D06051}"/>
              </a:ext>
            </a:extLst>
          </p:cNvPr>
          <p:cNvSpPr>
            <a:spLocks noGrp="1"/>
          </p:cNvSpPr>
          <p:nvPr>
            <p:ph type="pic" sz="quarter" idx="11"/>
          </p:nvPr>
        </p:nvSpPr>
        <p:spPr>
          <a:xfrm>
            <a:off x="3743968" y="0"/>
            <a:ext cx="4252431" cy="6858000"/>
          </a:xfrm>
          <a:prstGeom prst="rect">
            <a:avLst/>
          </a:prstGeom>
        </p:spPr>
        <p:txBody>
          <a:bodyPr anchor="ctr"/>
          <a:lstStyle>
            <a:lvl1pPr marL="176213" indent="0" algn="ctr">
              <a:buNone/>
              <a:defRPr>
                <a:solidFill>
                  <a:schemeClr val="tx1"/>
                </a:solidFill>
              </a:defRPr>
            </a:lvl1pPr>
          </a:lstStyle>
          <a:p>
            <a:r>
              <a:rPr lang="en-US"/>
              <a:t>Click icon to add picture</a:t>
            </a:r>
          </a:p>
        </p:txBody>
      </p:sp>
      <p:sp>
        <p:nvSpPr>
          <p:cNvPr id="2" name="Title 1">
            <a:extLst>
              <a:ext uri="{FF2B5EF4-FFF2-40B4-BE49-F238E27FC236}">
                <a16:creationId xmlns:a16="http://schemas.microsoft.com/office/drawing/2014/main" id="{6DE617AD-4598-EF4B-B0BE-75ACC7B0D4B5}"/>
              </a:ext>
            </a:extLst>
          </p:cNvPr>
          <p:cNvSpPr>
            <a:spLocks noGrp="1"/>
          </p:cNvSpPr>
          <p:nvPr>
            <p:ph type="title" hasCustomPrompt="1"/>
          </p:nvPr>
        </p:nvSpPr>
        <p:spPr>
          <a:xfrm>
            <a:off x="549943" y="1351975"/>
            <a:ext cx="2626521" cy="1569660"/>
          </a:xfrm>
          <a:noFill/>
        </p:spPr>
        <p:txBody>
          <a:bodyPr wrap="square" rtlCol="0" anchor="b">
            <a:spAutoFit/>
          </a:bodyPr>
          <a:lstStyle>
            <a:lvl1pPr>
              <a:lnSpc>
                <a:spcPct val="80000"/>
              </a:lnSpc>
              <a:defRPr lang="en-US" sz="4000" spc="-150" dirty="0">
                <a:ea typeface="+mn-ea"/>
              </a:defRPr>
            </a:lvl1pPr>
          </a:lstStyle>
          <a:p>
            <a:pPr marL="0" lvl="0" defTabSz="914400" latinLnBrk="0">
              <a:lnSpc>
                <a:spcPct val="80000"/>
              </a:lnSpc>
            </a:pPr>
            <a:r>
              <a:rPr lang="en-US"/>
              <a:t>CLICK </a:t>
            </a:r>
            <a:br>
              <a:rPr lang="en-US"/>
            </a:br>
            <a:r>
              <a:rPr lang="en-US"/>
              <a:t>TO EDIT TITLE</a:t>
            </a:r>
          </a:p>
        </p:txBody>
      </p:sp>
      <p:sp>
        <p:nvSpPr>
          <p:cNvPr id="13" name="Text Placeholder 12">
            <a:extLst>
              <a:ext uri="{FF2B5EF4-FFF2-40B4-BE49-F238E27FC236}">
                <a16:creationId xmlns:a16="http://schemas.microsoft.com/office/drawing/2014/main" id="{E6159E7F-94A9-9E44-B715-F545A2782ABB}"/>
              </a:ext>
            </a:extLst>
          </p:cNvPr>
          <p:cNvSpPr>
            <a:spLocks noGrp="1"/>
          </p:cNvSpPr>
          <p:nvPr>
            <p:ph type="body" sz="quarter" idx="12"/>
          </p:nvPr>
        </p:nvSpPr>
        <p:spPr>
          <a:xfrm>
            <a:off x="549942" y="3013804"/>
            <a:ext cx="2626521" cy="697499"/>
          </a:xfrm>
        </p:spPr>
        <p:txBody>
          <a:bodyPr wrap="square">
            <a:spAutoFit/>
          </a:bodyPr>
          <a:lstStyle>
            <a:lvl1pPr marL="0" indent="0">
              <a:lnSpc>
                <a:spcPct val="100000"/>
              </a:lnSpc>
              <a:buNone/>
              <a:defRPr lang="en-GB" sz="1800" smtClean="0">
                <a:solidFill>
                  <a:schemeClr val="tx1"/>
                </a:solidFill>
                <a:latin typeface="+mn-lt"/>
                <a:cs typeface="+mn-cs"/>
              </a:defRPr>
            </a:lvl1pPr>
            <a:lvl2pPr>
              <a:defRPr lang="en-GB" sz="1800" smtClean="0">
                <a:solidFill>
                  <a:schemeClr val="tx1"/>
                </a:solidFill>
                <a:latin typeface="+mn-lt"/>
                <a:cs typeface="+mn-cs"/>
              </a:defRPr>
            </a:lvl2pPr>
            <a:lvl3pPr>
              <a:defRPr lang="en-GB" sz="1800" smtClean="0">
                <a:solidFill>
                  <a:schemeClr val="tx1"/>
                </a:solidFill>
                <a:latin typeface="+mn-lt"/>
                <a:cs typeface="+mn-cs"/>
              </a:defRPr>
            </a:lvl3pPr>
            <a:lvl4pPr>
              <a:defRPr lang="en-GB" sz="1800" smtClean="0">
                <a:solidFill>
                  <a:schemeClr val="tx1"/>
                </a:solidFill>
                <a:latin typeface="+mn-lt"/>
                <a:cs typeface="+mn-cs"/>
              </a:defRPr>
            </a:lvl4pPr>
            <a:lvl5pPr>
              <a:defRPr lang="en-US" sz="1800">
                <a:solidFill>
                  <a:schemeClr val="tx1"/>
                </a:solidFill>
                <a:latin typeface="+mn-lt"/>
                <a:cs typeface="+mn-cs"/>
              </a:defRPr>
            </a:lvl5pPr>
          </a:lstStyle>
          <a:p>
            <a:pPr marL="0" lvl="0" defTabSz="914400" latinLnBrk="0">
              <a:lnSpc>
                <a:spcPct val="114000"/>
              </a:lnSpc>
            </a:pPr>
            <a:r>
              <a:rPr lang="en-GB"/>
              <a:t>Click to edit Master text styles</a:t>
            </a:r>
          </a:p>
        </p:txBody>
      </p:sp>
      <p:sp>
        <p:nvSpPr>
          <p:cNvPr id="14" name="Text Placeholder 12">
            <a:extLst>
              <a:ext uri="{FF2B5EF4-FFF2-40B4-BE49-F238E27FC236}">
                <a16:creationId xmlns:a16="http://schemas.microsoft.com/office/drawing/2014/main" id="{3808DA71-DC35-F14D-A87E-8422BD7D37B7}"/>
              </a:ext>
            </a:extLst>
          </p:cNvPr>
          <p:cNvSpPr>
            <a:spLocks noGrp="1"/>
          </p:cNvSpPr>
          <p:nvPr>
            <p:ph type="body" sz="quarter" idx="13"/>
          </p:nvPr>
        </p:nvSpPr>
        <p:spPr>
          <a:xfrm>
            <a:off x="8563902" y="353809"/>
            <a:ext cx="2784776" cy="6140124"/>
          </a:xfrm>
        </p:spPr>
        <p:txBody>
          <a:bodyPr wrap="square" lIns="90000">
            <a:noAutofit/>
          </a:bodyPr>
          <a:lstStyle>
            <a:lvl1pPr marL="0" indent="0">
              <a:buNone/>
              <a:defRPr lang="en-GB" sz="1100" dirty="0" smtClean="0">
                <a:solidFill>
                  <a:schemeClr val="tx1"/>
                </a:solidFill>
                <a:latin typeface="+mn-lt"/>
                <a:cs typeface="+mn-cs"/>
              </a:defRPr>
            </a:lvl1pPr>
          </a:lstStyle>
          <a:p>
            <a:pPr marL="0" lvl="0" defTabSz="914400" latinLnBrk="0">
              <a:lnSpc>
                <a:spcPct val="150000"/>
              </a:lnSpc>
            </a:pPr>
            <a:r>
              <a:rPr lang="en-GB"/>
              <a:t>Click to edit Master text styles</a:t>
            </a:r>
          </a:p>
        </p:txBody>
      </p:sp>
      <p:sp>
        <p:nvSpPr>
          <p:cNvPr id="6" name="Slide Number Placeholder 3">
            <a:extLst>
              <a:ext uri="{FF2B5EF4-FFF2-40B4-BE49-F238E27FC236}">
                <a16:creationId xmlns:a16="http://schemas.microsoft.com/office/drawing/2014/main" id="{76FA3FDA-173A-EC4F-9815-903F986E4F6D}"/>
              </a:ext>
            </a:extLst>
          </p:cNvPr>
          <p:cNvSpPr>
            <a:spLocks noGrp="1"/>
          </p:cNvSpPr>
          <p:nvPr>
            <p:ph type="sldNum" sz="quarter" idx="4"/>
          </p:nvPr>
        </p:nvSpPr>
        <p:spPr>
          <a:xfrm>
            <a:off x="11466736" y="6461563"/>
            <a:ext cx="494015" cy="365125"/>
          </a:xfrm>
          <a:prstGeom prst="rect">
            <a:avLst/>
          </a:prstGeom>
        </p:spPr>
        <p:txBody>
          <a:bodyPr vert="horz" lIns="91440" tIns="45720" rIns="91440" bIns="45720" rtlCol="0" anchor="ctr"/>
          <a:lstStyle>
            <a:lvl1pPr algn="r">
              <a:defRPr sz="700">
                <a:solidFill>
                  <a:schemeClr val="tx1">
                    <a:lumMod val="85000"/>
                    <a:lumOff val="15000"/>
                  </a:schemeClr>
                </a:solidFill>
              </a:defRPr>
            </a:lvl1pPr>
          </a:lstStyle>
          <a:p>
            <a:fld id="{7807D63B-5E22-2649-BDDD-63996CEFF5E5}" type="slidenum">
              <a:rPr lang="en-US" smtClean="0"/>
              <a:pPr/>
              <a:t>‹#›</a:t>
            </a:fld>
            <a:endParaRPr lang="en-US"/>
          </a:p>
        </p:txBody>
      </p:sp>
    </p:spTree>
    <p:extLst>
      <p:ext uri="{BB962C8B-B14F-4D97-AF65-F5344CB8AC3E}">
        <p14:creationId xmlns:p14="http://schemas.microsoft.com/office/powerpoint/2010/main" val="993671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lide - 2Col w/Header">
    <p:spTree>
      <p:nvGrpSpPr>
        <p:cNvPr id="1" name=""/>
        <p:cNvGrpSpPr/>
        <p:nvPr/>
      </p:nvGrpSpPr>
      <p:grpSpPr>
        <a:xfrm>
          <a:off x="0" y="0"/>
          <a:ext cx="0" cy="0"/>
          <a:chOff x="0" y="0"/>
          <a:chExt cx="0" cy="0"/>
        </a:xfrm>
      </p:grpSpPr>
      <p:sp>
        <p:nvSpPr>
          <p:cNvPr id="6" name="TextBox 11">
            <a:extLst>
              <a:ext uri="{FF2B5EF4-FFF2-40B4-BE49-F238E27FC236}">
                <a16:creationId xmlns:a16="http://schemas.microsoft.com/office/drawing/2014/main" id="{5EB70C11-09D5-394B-A9F6-AD4E69622F74}"/>
              </a:ext>
            </a:extLst>
          </p:cNvPr>
          <p:cNvSpPr txBox="1">
            <a:spLocks noChangeArrowheads="1"/>
          </p:cNvSpPr>
          <p:nvPr/>
        </p:nvSpPr>
        <p:spPr bwMode="auto">
          <a:xfrm>
            <a:off x="11463655" y="7376160"/>
            <a:ext cx="87947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800">
                <a:solidFill>
                  <a:srgbClr val="7F7F7F"/>
                </a:solidFill>
                <a:latin typeface="Calibri Light" panose="020F0302020204030204" pitchFamily="34" charset="0"/>
              </a:rPr>
              <a:t>© Digital.ai.2020</a:t>
            </a:r>
          </a:p>
        </p:txBody>
      </p:sp>
      <p:sp>
        <p:nvSpPr>
          <p:cNvPr id="8" name="Footer Placeholder 7">
            <a:extLst>
              <a:ext uri="{FF2B5EF4-FFF2-40B4-BE49-F238E27FC236}">
                <a16:creationId xmlns:a16="http://schemas.microsoft.com/office/drawing/2014/main" id="{3D6085BE-F243-0843-8569-B017D772803E}"/>
              </a:ext>
            </a:extLst>
          </p:cNvPr>
          <p:cNvSpPr>
            <a:spLocks noGrp="1"/>
          </p:cNvSpPr>
          <p:nvPr>
            <p:ph type="ftr" sz="quarter" idx="12"/>
          </p:nvPr>
        </p:nvSpPr>
        <p:spPr/>
        <p:txBody>
          <a:bodyPr/>
          <a:lstStyle/>
          <a:p>
            <a:endParaRPr lang="en-US"/>
          </a:p>
        </p:txBody>
      </p:sp>
      <p:sp>
        <p:nvSpPr>
          <p:cNvPr id="2" name="Title 1">
            <a:extLst>
              <a:ext uri="{FF2B5EF4-FFF2-40B4-BE49-F238E27FC236}">
                <a16:creationId xmlns:a16="http://schemas.microsoft.com/office/drawing/2014/main" id="{52C9CEE9-DEAE-7848-8AC3-16CC4223BFE9}"/>
              </a:ext>
            </a:extLst>
          </p:cNvPr>
          <p:cNvSpPr>
            <a:spLocks noGrp="1"/>
          </p:cNvSpPr>
          <p:nvPr>
            <p:ph type="title"/>
          </p:nvPr>
        </p:nvSpPr>
        <p:spPr/>
        <p:txBody>
          <a:bodyPr/>
          <a:lstStyle/>
          <a:p>
            <a:r>
              <a:rPr lang="en-US"/>
              <a:t>Click to edit Master title style</a:t>
            </a:r>
          </a:p>
        </p:txBody>
      </p:sp>
      <p:cxnSp>
        <p:nvCxnSpPr>
          <p:cNvPr id="14" name="Straight Connector 13">
            <a:extLst>
              <a:ext uri="{FF2B5EF4-FFF2-40B4-BE49-F238E27FC236}">
                <a16:creationId xmlns:a16="http://schemas.microsoft.com/office/drawing/2014/main" id="{20CD0320-4AC7-1142-9D6A-E14D4866946F}"/>
              </a:ext>
            </a:extLst>
          </p:cNvPr>
          <p:cNvCxnSpPr>
            <a:cxnSpLocks/>
          </p:cNvCxnSpPr>
          <p:nvPr userDrawn="1"/>
        </p:nvCxnSpPr>
        <p:spPr>
          <a:xfrm>
            <a:off x="515073" y="1249680"/>
            <a:ext cx="11676927" cy="0"/>
          </a:xfrm>
          <a:prstGeom prst="line">
            <a:avLst/>
          </a:prstGeom>
          <a:ln w="50800" cap="flat" cmpd="sng">
            <a:solidFill>
              <a:srgbClr val="649A3D"/>
            </a:solidFill>
            <a:prstDash val="solid"/>
          </a:ln>
        </p:spPr>
        <p:style>
          <a:lnRef idx="1">
            <a:schemeClr val="accent1"/>
          </a:lnRef>
          <a:fillRef idx="0">
            <a:schemeClr val="accent1"/>
          </a:fillRef>
          <a:effectRef idx="0">
            <a:schemeClr val="accent1"/>
          </a:effectRef>
          <a:fontRef idx="minor">
            <a:schemeClr val="tx1"/>
          </a:fontRef>
        </p:style>
      </p:cxnSp>
      <p:sp>
        <p:nvSpPr>
          <p:cNvPr id="9" name="Content Placeholder 8">
            <a:extLst>
              <a:ext uri="{FF2B5EF4-FFF2-40B4-BE49-F238E27FC236}">
                <a16:creationId xmlns:a16="http://schemas.microsoft.com/office/drawing/2014/main" id="{9131C86E-016E-9148-B8C1-2AE6AF057FDB}"/>
              </a:ext>
            </a:extLst>
          </p:cNvPr>
          <p:cNvSpPr>
            <a:spLocks noGrp="1"/>
          </p:cNvSpPr>
          <p:nvPr>
            <p:ph sz="quarter" idx="14"/>
          </p:nvPr>
        </p:nvSpPr>
        <p:spPr>
          <a:xfrm>
            <a:off x="421532" y="1535064"/>
            <a:ext cx="5191429" cy="47091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a:extLst>
              <a:ext uri="{FF2B5EF4-FFF2-40B4-BE49-F238E27FC236}">
                <a16:creationId xmlns:a16="http://schemas.microsoft.com/office/drawing/2014/main" id="{4682AEF4-3FAB-C64B-9953-8DCB604D9550}"/>
              </a:ext>
            </a:extLst>
          </p:cNvPr>
          <p:cNvSpPr>
            <a:spLocks noGrp="1"/>
          </p:cNvSpPr>
          <p:nvPr>
            <p:ph sz="quarter" idx="15"/>
          </p:nvPr>
        </p:nvSpPr>
        <p:spPr>
          <a:xfrm>
            <a:off x="6554183" y="1534311"/>
            <a:ext cx="5191429" cy="47091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a:extLst>
              <a:ext uri="{FF2B5EF4-FFF2-40B4-BE49-F238E27FC236}">
                <a16:creationId xmlns:a16="http://schemas.microsoft.com/office/drawing/2014/main" id="{D89A0D41-66DB-D14A-9B48-E874D8BA6563}"/>
              </a:ext>
            </a:extLst>
          </p:cNvPr>
          <p:cNvCxnSpPr>
            <a:cxnSpLocks/>
          </p:cNvCxnSpPr>
          <p:nvPr userDrawn="1"/>
        </p:nvCxnSpPr>
        <p:spPr>
          <a:xfrm>
            <a:off x="6096000" y="1534311"/>
            <a:ext cx="0" cy="4739074"/>
          </a:xfrm>
          <a:prstGeom prst="line">
            <a:avLst/>
          </a:prstGeom>
          <a:ln w="25400">
            <a:solidFill>
              <a:srgbClr val="649A3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5319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4" name="Picture 3" descr="A picture containing icon&#10;&#10;Description automatically generated">
            <a:extLst>
              <a:ext uri="{FF2B5EF4-FFF2-40B4-BE49-F238E27FC236}">
                <a16:creationId xmlns:a16="http://schemas.microsoft.com/office/drawing/2014/main" id="{EF62467A-436C-8349-82AE-A4D851A26478}"/>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5" name="Group 4">
            <a:extLst>
              <a:ext uri="{FF2B5EF4-FFF2-40B4-BE49-F238E27FC236}">
                <a16:creationId xmlns:a16="http://schemas.microsoft.com/office/drawing/2014/main" id="{1FFC7882-D683-3F43-B61B-AFFD49ED894A}"/>
              </a:ext>
            </a:extLst>
          </p:cNvPr>
          <p:cNvGrpSpPr/>
          <p:nvPr userDrawn="1"/>
        </p:nvGrpSpPr>
        <p:grpSpPr>
          <a:xfrm>
            <a:off x="10627415" y="6237171"/>
            <a:ext cx="1224237" cy="303315"/>
            <a:chOff x="9337806" y="4106341"/>
            <a:chExt cx="1729902" cy="428598"/>
          </a:xfrm>
          <a:solidFill>
            <a:schemeClr val="bg1"/>
          </a:solidFill>
        </p:grpSpPr>
        <p:sp>
          <p:nvSpPr>
            <p:cNvPr id="6" name="Freeform 5">
              <a:extLst>
                <a:ext uri="{FF2B5EF4-FFF2-40B4-BE49-F238E27FC236}">
                  <a16:creationId xmlns:a16="http://schemas.microsoft.com/office/drawing/2014/main" id="{AD64C9F7-4ECC-C541-AA34-7FFBD58A0D0B}"/>
                </a:ext>
              </a:extLst>
            </p:cNvPr>
            <p:cNvSpPr/>
            <p:nvPr/>
          </p:nvSpPr>
          <p:spPr>
            <a:xfrm>
              <a:off x="9337806" y="4106341"/>
              <a:ext cx="1729902" cy="428598"/>
            </a:xfrm>
            <a:custGeom>
              <a:avLst/>
              <a:gdLst>
                <a:gd name="connsiteX0" fmla="*/ 1682722 w 1729902"/>
                <a:gd name="connsiteY0" fmla="*/ 96586 h 428598"/>
                <a:gd name="connsiteX1" fmla="*/ 1674027 w 1729902"/>
                <a:gd name="connsiteY1" fmla="*/ 96586 h 428598"/>
                <a:gd name="connsiteX2" fmla="*/ 1674027 w 1729902"/>
                <a:gd name="connsiteY2" fmla="*/ 91814 h 428598"/>
                <a:gd name="connsiteX3" fmla="*/ 1695768 w 1729902"/>
                <a:gd name="connsiteY3" fmla="*/ 91814 h 428598"/>
                <a:gd name="connsiteX4" fmla="*/ 1695768 w 1729902"/>
                <a:gd name="connsiteY4" fmla="*/ 96586 h 428598"/>
                <a:gd name="connsiteX5" fmla="*/ 1687289 w 1729902"/>
                <a:gd name="connsiteY5" fmla="*/ 96586 h 428598"/>
                <a:gd name="connsiteX6" fmla="*/ 1687289 w 1729902"/>
                <a:gd name="connsiteY6" fmla="*/ 122613 h 428598"/>
                <a:gd name="connsiteX7" fmla="*/ 1682331 w 1729902"/>
                <a:gd name="connsiteY7" fmla="*/ 122613 h 428598"/>
                <a:gd name="connsiteX8" fmla="*/ 1682722 w 1729902"/>
                <a:gd name="connsiteY8" fmla="*/ 96586 h 428598"/>
                <a:gd name="connsiteX9" fmla="*/ 1700118 w 1729902"/>
                <a:gd name="connsiteY9" fmla="*/ 91814 h 428598"/>
                <a:gd name="connsiteX10" fmla="*/ 1707814 w 1729902"/>
                <a:gd name="connsiteY10" fmla="*/ 91814 h 428598"/>
                <a:gd name="connsiteX11" fmla="*/ 1715032 w 1729902"/>
                <a:gd name="connsiteY11" fmla="*/ 113503 h 428598"/>
                <a:gd name="connsiteX12" fmla="*/ 1722163 w 1729902"/>
                <a:gd name="connsiteY12" fmla="*/ 91814 h 428598"/>
                <a:gd name="connsiteX13" fmla="*/ 1729902 w 1729902"/>
                <a:gd name="connsiteY13" fmla="*/ 91814 h 428598"/>
                <a:gd name="connsiteX14" fmla="*/ 1729902 w 1729902"/>
                <a:gd name="connsiteY14" fmla="*/ 122526 h 428598"/>
                <a:gd name="connsiteX15" fmla="*/ 1725035 w 1729902"/>
                <a:gd name="connsiteY15" fmla="*/ 122526 h 428598"/>
                <a:gd name="connsiteX16" fmla="*/ 1725035 w 1729902"/>
                <a:gd name="connsiteY16" fmla="*/ 97844 h 428598"/>
                <a:gd name="connsiteX17" fmla="*/ 1716596 w 1729902"/>
                <a:gd name="connsiteY17" fmla="*/ 122526 h 428598"/>
                <a:gd name="connsiteX18" fmla="*/ 1713163 w 1729902"/>
                <a:gd name="connsiteY18" fmla="*/ 122526 h 428598"/>
                <a:gd name="connsiteX19" fmla="*/ 1704859 w 1729902"/>
                <a:gd name="connsiteY19" fmla="*/ 97844 h 428598"/>
                <a:gd name="connsiteX20" fmla="*/ 1704859 w 1729902"/>
                <a:gd name="connsiteY20" fmla="*/ 122526 h 428598"/>
                <a:gd name="connsiteX21" fmla="*/ 1700161 w 1729902"/>
                <a:gd name="connsiteY21" fmla="*/ 122526 h 428598"/>
                <a:gd name="connsiteX22" fmla="*/ 1700118 w 1729902"/>
                <a:gd name="connsiteY22" fmla="*/ 91814 h 428598"/>
                <a:gd name="connsiteX23" fmla="*/ 1531574 w 1729902"/>
                <a:gd name="connsiteY23" fmla="*/ 90860 h 428598"/>
                <a:gd name="connsiteX24" fmla="*/ 1515022 w 1729902"/>
                <a:gd name="connsiteY24" fmla="*/ 96598 h 428598"/>
                <a:gd name="connsiteX25" fmla="*/ 1506704 w 1729902"/>
                <a:gd name="connsiteY25" fmla="*/ 111985 h 428598"/>
                <a:gd name="connsiteX26" fmla="*/ 1437783 w 1729902"/>
                <a:gd name="connsiteY26" fmla="*/ 85525 h 428598"/>
                <a:gd name="connsiteX27" fmla="*/ 1390608 w 1729902"/>
                <a:gd name="connsiteY27" fmla="*/ 94645 h 428598"/>
                <a:gd name="connsiteX28" fmla="*/ 1350646 w 1729902"/>
                <a:gd name="connsiteY28" fmla="*/ 121263 h 428598"/>
                <a:gd name="connsiteX29" fmla="*/ 1324116 w 1729902"/>
                <a:gd name="connsiteY29" fmla="*/ 161232 h 428598"/>
                <a:gd name="connsiteX30" fmla="*/ 1315159 w 1729902"/>
                <a:gd name="connsiteY30" fmla="*/ 208327 h 428598"/>
                <a:gd name="connsiteX31" fmla="*/ 1315159 w 1729902"/>
                <a:gd name="connsiteY31" fmla="*/ 213272 h 428598"/>
                <a:gd name="connsiteX32" fmla="*/ 1347260 w 1729902"/>
                <a:gd name="connsiteY32" fmla="*/ 238760 h 428598"/>
                <a:gd name="connsiteX33" fmla="*/ 1359380 w 1729902"/>
                <a:gd name="connsiteY33" fmla="*/ 277861 h 428598"/>
                <a:gd name="connsiteX34" fmla="*/ 1355513 w 1729902"/>
                <a:gd name="connsiteY34" fmla="*/ 300417 h 428598"/>
                <a:gd name="connsiteX35" fmla="*/ 1437653 w 1729902"/>
                <a:gd name="connsiteY35" fmla="*/ 330348 h 428598"/>
                <a:gd name="connsiteX36" fmla="*/ 1506444 w 1729902"/>
                <a:gd name="connsiteY36" fmla="*/ 302587 h 428598"/>
                <a:gd name="connsiteX37" fmla="*/ 1514218 w 1729902"/>
                <a:gd name="connsiteY37" fmla="*/ 319148 h 428598"/>
                <a:gd name="connsiteX38" fmla="*/ 1531444 w 1729902"/>
                <a:gd name="connsiteY38" fmla="*/ 325403 h 428598"/>
                <a:gd name="connsiteX39" fmla="*/ 1556926 w 1729902"/>
                <a:gd name="connsiteY39" fmla="*/ 299941 h 428598"/>
                <a:gd name="connsiteX40" fmla="*/ 1556926 w 1729902"/>
                <a:gd name="connsiteY40" fmla="*/ 115932 h 428598"/>
                <a:gd name="connsiteX41" fmla="*/ 1555418 w 1729902"/>
                <a:gd name="connsiteY41" fmla="*/ 106006 h 428598"/>
                <a:gd name="connsiteX42" fmla="*/ 1549917 w 1729902"/>
                <a:gd name="connsiteY42" fmla="*/ 97599 h 428598"/>
                <a:gd name="connsiteX43" fmla="*/ 1541417 w 1729902"/>
                <a:gd name="connsiteY43" fmla="*/ 92228 h 428598"/>
                <a:gd name="connsiteX44" fmla="*/ 1531444 w 1729902"/>
                <a:gd name="connsiteY44" fmla="*/ 90860 h 428598"/>
                <a:gd name="connsiteX45" fmla="*/ 1531574 w 1729902"/>
                <a:gd name="connsiteY45" fmla="*/ 90860 h 428598"/>
                <a:gd name="connsiteX46" fmla="*/ 1437436 w 1729902"/>
                <a:gd name="connsiteY46" fmla="*/ 276430 h 428598"/>
                <a:gd name="connsiteX47" fmla="*/ 1399403 w 1729902"/>
                <a:gd name="connsiteY47" fmla="*/ 264970 h 428598"/>
                <a:gd name="connsiteX48" fmla="*/ 1374177 w 1729902"/>
                <a:gd name="connsiteY48" fmla="*/ 234358 h 428598"/>
                <a:gd name="connsiteX49" fmla="*/ 1370253 w 1729902"/>
                <a:gd name="connsiteY49" fmla="*/ 194922 h 428598"/>
                <a:gd name="connsiteX50" fmla="*/ 1388965 w 1729902"/>
                <a:gd name="connsiteY50" fmla="*/ 159964 h 428598"/>
                <a:gd name="connsiteX51" fmla="*/ 1423999 w 1729902"/>
                <a:gd name="connsiteY51" fmla="*/ 141276 h 428598"/>
                <a:gd name="connsiteX52" fmla="*/ 1463531 w 1729902"/>
                <a:gd name="connsiteY52" fmla="*/ 145162 h 428598"/>
                <a:gd name="connsiteX53" fmla="*/ 1494232 w 1729902"/>
                <a:gd name="connsiteY53" fmla="*/ 170311 h 428598"/>
                <a:gd name="connsiteX54" fmla="*/ 1505748 w 1729902"/>
                <a:gd name="connsiteY54" fmla="*/ 208240 h 428598"/>
                <a:gd name="connsiteX55" fmla="*/ 1485728 w 1729902"/>
                <a:gd name="connsiteY55" fmla="*/ 256430 h 428598"/>
                <a:gd name="connsiteX56" fmla="*/ 1437436 w 1729902"/>
                <a:gd name="connsiteY56" fmla="*/ 276430 h 428598"/>
                <a:gd name="connsiteX57" fmla="*/ 1082784 w 1729902"/>
                <a:gd name="connsiteY57" fmla="*/ 90860 h 428598"/>
                <a:gd name="connsiteX58" fmla="*/ 1066244 w 1729902"/>
                <a:gd name="connsiteY58" fmla="*/ 96602 h 428598"/>
                <a:gd name="connsiteX59" fmla="*/ 1057953 w 1729902"/>
                <a:gd name="connsiteY59" fmla="*/ 111985 h 428598"/>
                <a:gd name="connsiteX60" fmla="*/ 989032 w 1729902"/>
                <a:gd name="connsiteY60" fmla="*/ 85525 h 428598"/>
                <a:gd name="connsiteX61" fmla="*/ 941856 w 1729902"/>
                <a:gd name="connsiteY61" fmla="*/ 94645 h 428598"/>
                <a:gd name="connsiteX62" fmla="*/ 901894 w 1729902"/>
                <a:gd name="connsiteY62" fmla="*/ 121263 h 428598"/>
                <a:gd name="connsiteX63" fmla="*/ 875369 w 1729902"/>
                <a:gd name="connsiteY63" fmla="*/ 161232 h 428598"/>
                <a:gd name="connsiteX64" fmla="*/ 866408 w 1729902"/>
                <a:gd name="connsiteY64" fmla="*/ 208327 h 428598"/>
                <a:gd name="connsiteX65" fmla="*/ 989032 w 1729902"/>
                <a:gd name="connsiteY65" fmla="*/ 330348 h 428598"/>
                <a:gd name="connsiteX66" fmla="*/ 1057823 w 1729902"/>
                <a:gd name="connsiteY66" fmla="*/ 302587 h 428598"/>
                <a:gd name="connsiteX67" fmla="*/ 1065584 w 1729902"/>
                <a:gd name="connsiteY67" fmla="*/ 319132 h 428598"/>
                <a:gd name="connsiteX68" fmla="*/ 1082784 w 1729902"/>
                <a:gd name="connsiteY68" fmla="*/ 325403 h 428598"/>
                <a:gd name="connsiteX69" fmla="*/ 1108305 w 1729902"/>
                <a:gd name="connsiteY69" fmla="*/ 299941 h 428598"/>
                <a:gd name="connsiteX70" fmla="*/ 1108305 w 1729902"/>
                <a:gd name="connsiteY70" fmla="*/ 115932 h 428598"/>
                <a:gd name="connsiteX71" fmla="*/ 1082784 w 1729902"/>
                <a:gd name="connsiteY71" fmla="*/ 90860 h 428598"/>
                <a:gd name="connsiteX72" fmla="*/ 986902 w 1729902"/>
                <a:gd name="connsiteY72" fmla="*/ 276430 h 428598"/>
                <a:gd name="connsiteX73" fmla="*/ 948874 w 1729902"/>
                <a:gd name="connsiteY73" fmla="*/ 264970 h 428598"/>
                <a:gd name="connsiteX74" fmla="*/ 923644 w 1729902"/>
                <a:gd name="connsiteY74" fmla="*/ 234358 h 428598"/>
                <a:gd name="connsiteX75" fmla="*/ 919720 w 1729902"/>
                <a:gd name="connsiteY75" fmla="*/ 194922 h 428598"/>
                <a:gd name="connsiteX76" fmla="*/ 938432 w 1729902"/>
                <a:gd name="connsiteY76" fmla="*/ 159964 h 428598"/>
                <a:gd name="connsiteX77" fmla="*/ 973466 w 1729902"/>
                <a:gd name="connsiteY77" fmla="*/ 141276 h 428598"/>
                <a:gd name="connsiteX78" fmla="*/ 1012998 w 1729902"/>
                <a:gd name="connsiteY78" fmla="*/ 145162 h 428598"/>
                <a:gd name="connsiteX79" fmla="*/ 1043704 w 1729902"/>
                <a:gd name="connsiteY79" fmla="*/ 170311 h 428598"/>
                <a:gd name="connsiteX80" fmla="*/ 1055215 w 1729902"/>
                <a:gd name="connsiteY80" fmla="*/ 208240 h 428598"/>
                <a:gd name="connsiteX81" fmla="*/ 1035195 w 1729902"/>
                <a:gd name="connsiteY81" fmla="*/ 256430 h 428598"/>
                <a:gd name="connsiteX82" fmla="*/ 986902 w 1729902"/>
                <a:gd name="connsiteY82" fmla="*/ 276430 h 428598"/>
                <a:gd name="connsiteX83" fmla="*/ 216374 w 1729902"/>
                <a:gd name="connsiteY83" fmla="*/ 71 h 428598"/>
                <a:gd name="connsiteX84" fmla="*/ 206404 w 1729902"/>
                <a:gd name="connsiteY84" fmla="*/ 1438 h 428598"/>
                <a:gd name="connsiteX85" fmla="*/ 197902 w 1729902"/>
                <a:gd name="connsiteY85" fmla="*/ 6810 h 428598"/>
                <a:gd name="connsiteX86" fmla="*/ 192400 w 1729902"/>
                <a:gd name="connsiteY86" fmla="*/ 15217 h 428598"/>
                <a:gd name="connsiteX87" fmla="*/ 190893 w 1729902"/>
                <a:gd name="connsiteY87" fmla="*/ 25143 h 428598"/>
                <a:gd name="connsiteX88" fmla="*/ 190893 w 1729902"/>
                <a:gd name="connsiteY88" fmla="*/ 112332 h 428598"/>
                <a:gd name="connsiteX89" fmla="*/ 122580 w 1729902"/>
                <a:gd name="connsiteY89" fmla="*/ 85525 h 428598"/>
                <a:gd name="connsiteX90" fmla="*/ 0 w 1729902"/>
                <a:gd name="connsiteY90" fmla="*/ 208327 h 428598"/>
                <a:gd name="connsiteX91" fmla="*/ 122580 w 1729902"/>
                <a:gd name="connsiteY91" fmla="*/ 330348 h 428598"/>
                <a:gd name="connsiteX92" fmla="*/ 193023 w 1729902"/>
                <a:gd name="connsiteY92" fmla="*/ 300721 h 428598"/>
                <a:gd name="connsiteX93" fmla="*/ 220505 w 1729902"/>
                <a:gd name="connsiteY93" fmla="*/ 325403 h 428598"/>
                <a:gd name="connsiteX94" fmla="*/ 229010 w 1729902"/>
                <a:gd name="connsiteY94" fmla="*/ 323693 h 428598"/>
                <a:gd name="connsiteX95" fmla="*/ 236126 w 1729902"/>
                <a:gd name="connsiteY95" fmla="*/ 318742 h 428598"/>
                <a:gd name="connsiteX96" fmla="*/ 240673 w 1729902"/>
                <a:gd name="connsiteY96" fmla="*/ 311372 h 428598"/>
                <a:gd name="connsiteX97" fmla="*/ 241899 w 1729902"/>
                <a:gd name="connsiteY97" fmla="*/ 302803 h 428598"/>
                <a:gd name="connsiteX98" fmla="*/ 241899 w 1729902"/>
                <a:gd name="connsiteY98" fmla="*/ 25186 h 428598"/>
                <a:gd name="connsiteX99" fmla="*/ 240287 w 1729902"/>
                <a:gd name="connsiteY99" fmla="*/ 15306 h 428598"/>
                <a:gd name="connsiteX100" fmla="*/ 234766 w 1729902"/>
                <a:gd name="connsiteY100" fmla="*/ 6947 h 428598"/>
                <a:gd name="connsiteX101" fmla="*/ 226302 w 1729902"/>
                <a:gd name="connsiteY101" fmla="*/ 1569 h 428598"/>
                <a:gd name="connsiteX102" fmla="*/ 216374 w 1729902"/>
                <a:gd name="connsiteY102" fmla="*/ 114 h 428598"/>
                <a:gd name="connsiteX103" fmla="*/ 216374 w 1729902"/>
                <a:gd name="connsiteY103" fmla="*/ 71 h 428598"/>
                <a:gd name="connsiteX104" fmla="*/ 122102 w 1729902"/>
                <a:gd name="connsiteY104" fmla="*/ 276430 h 428598"/>
                <a:gd name="connsiteX105" fmla="*/ 84073 w 1729902"/>
                <a:gd name="connsiteY105" fmla="*/ 264970 h 428598"/>
                <a:gd name="connsiteX106" fmla="*/ 58843 w 1729902"/>
                <a:gd name="connsiteY106" fmla="*/ 234358 h 428598"/>
                <a:gd name="connsiteX107" fmla="*/ 54922 w 1729902"/>
                <a:gd name="connsiteY107" fmla="*/ 194922 h 428598"/>
                <a:gd name="connsiteX108" fmla="*/ 73634 w 1729902"/>
                <a:gd name="connsiteY108" fmla="*/ 159964 h 428598"/>
                <a:gd name="connsiteX109" fmla="*/ 108665 w 1729902"/>
                <a:gd name="connsiteY109" fmla="*/ 141276 h 428598"/>
                <a:gd name="connsiteX110" fmla="*/ 148200 w 1729902"/>
                <a:gd name="connsiteY110" fmla="*/ 145162 h 428598"/>
                <a:gd name="connsiteX111" fmla="*/ 178902 w 1729902"/>
                <a:gd name="connsiteY111" fmla="*/ 170311 h 428598"/>
                <a:gd name="connsiteX112" fmla="*/ 190415 w 1729902"/>
                <a:gd name="connsiteY112" fmla="*/ 208240 h 428598"/>
                <a:gd name="connsiteX113" fmla="*/ 170396 w 1729902"/>
                <a:gd name="connsiteY113" fmla="*/ 256430 h 428598"/>
                <a:gd name="connsiteX114" fmla="*/ 122102 w 1729902"/>
                <a:gd name="connsiteY114" fmla="*/ 276430 h 428598"/>
                <a:gd name="connsiteX115" fmla="*/ 587634 w 1729902"/>
                <a:gd name="connsiteY115" fmla="*/ 90860 h 428598"/>
                <a:gd name="connsiteX116" fmla="*/ 560805 w 1729902"/>
                <a:gd name="connsiteY116" fmla="*/ 115455 h 428598"/>
                <a:gd name="connsiteX117" fmla="*/ 490145 w 1729902"/>
                <a:gd name="connsiteY117" fmla="*/ 85525 h 428598"/>
                <a:gd name="connsiteX118" fmla="*/ 367522 w 1729902"/>
                <a:gd name="connsiteY118" fmla="*/ 207936 h 428598"/>
                <a:gd name="connsiteX119" fmla="*/ 490145 w 1729902"/>
                <a:gd name="connsiteY119" fmla="*/ 330348 h 428598"/>
                <a:gd name="connsiteX120" fmla="*/ 557937 w 1729902"/>
                <a:gd name="connsiteY120" fmla="*/ 304322 h 428598"/>
                <a:gd name="connsiteX121" fmla="*/ 485187 w 1729902"/>
                <a:gd name="connsiteY121" fmla="*/ 377631 h 428598"/>
                <a:gd name="connsiteX122" fmla="*/ 475153 w 1729902"/>
                <a:gd name="connsiteY122" fmla="*/ 379097 h 428598"/>
                <a:gd name="connsiteX123" fmla="*/ 466627 w 1729902"/>
                <a:gd name="connsiteY123" fmla="*/ 384576 h 428598"/>
                <a:gd name="connsiteX124" fmla="*/ 461134 w 1729902"/>
                <a:gd name="connsiteY124" fmla="*/ 393081 h 428598"/>
                <a:gd name="connsiteX125" fmla="*/ 459665 w 1729902"/>
                <a:gd name="connsiteY125" fmla="*/ 403091 h 428598"/>
                <a:gd name="connsiteX126" fmla="*/ 486843 w 1729902"/>
                <a:gd name="connsiteY126" fmla="*/ 428598 h 428598"/>
                <a:gd name="connsiteX127" fmla="*/ 609423 w 1729902"/>
                <a:gd name="connsiteY127" fmla="*/ 306577 h 428598"/>
                <a:gd name="connsiteX128" fmla="*/ 609423 w 1729902"/>
                <a:gd name="connsiteY128" fmla="*/ 113069 h 428598"/>
                <a:gd name="connsiteX129" fmla="*/ 608059 w 1729902"/>
                <a:gd name="connsiteY129" fmla="*/ 104532 h 428598"/>
                <a:gd name="connsiteX130" fmla="*/ 603396 w 1729902"/>
                <a:gd name="connsiteY130" fmla="*/ 97246 h 428598"/>
                <a:gd name="connsiteX131" fmla="*/ 596204 w 1729902"/>
                <a:gd name="connsiteY131" fmla="*/ 92421 h 428598"/>
                <a:gd name="connsiteX132" fmla="*/ 587678 w 1729902"/>
                <a:gd name="connsiteY132" fmla="*/ 90860 h 428598"/>
                <a:gd name="connsiteX133" fmla="*/ 587634 w 1729902"/>
                <a:gd name="connsiteY133" fmla="*/ 90860 h 428598"/>
                <a:gd name="connsiteX134" fmla="*/ 489015 w 1729902"/>
                <a:gd name="connsiteY134" fmla="*/ 276430 h 428598"/>
                <a:gd name="connsiteX135" fmla="*/ 450987 w 1729902"/>
                <a:gd name="connsiteY135" fmla="*/ 264970 h 428598"/>
                <a:gd name="connsiteX136" fmla="*/ 425757 w 1729902"/>
                <a:gd name="connsiteY136" fmla="*/ 234358 h 428598"/>
                <a:gd name="connsiteX137" fmla="*/ 421837 w 1729902"/>
                <a:gd name="connsiteY137" fmla="*/ 194922 h 428598"/>
                <a:gd name="connsiteX138" fmla="*/ 440549 w 1729902"/>
                <a:gd name="connsiteY138" fmla="*/ 159964 h 428598"/>
                <a:gd name="connsiteX139" fmla="*/ 475579 w 1729902"/>
                <a:gd name="connsiteY139" fmla="*/ 141276 h 428598"/>
                <a:gd name="connsiteX140" fmla="*/ 515115 w 1729902"/>
                <a:gd name="connsiteY140" fmla="*/ 145162 h 428598"/>
                <a:gd name="connsiteX141" fmla="*/ 545817 w 1729902"/>
                <a:gd name="connsiteY141" fmla="*/ 170311 h 428598"/>
                <a:gd name="connsiteX142" fmla="*/ 557328 w 1729902"/>
                <a:gd name="connsiteY142" fmla="*/ 208240 h 428598"/>
                <a:gd name="connsiteX143" fmla="*/ 537308 w 1729902"/>
                <a:gd name="connsiteY143" fmla="*/ 256430 h 428598"/>
                <a:gd name="connsiteX144" fmla="*/ 489015 w 1729902"/>
                <a:gd name="connsiteY144" fmla="*/ 276430 h 428598"/>
                <a:gd name="connsiteX145" fmla="*/ 1626847 w 1729902"/>
                <a:gd name="connsiteY145" fmla="*/ 89125 h 428598"/>
                <a:gd name="connsiteX146" fmla="*/ 1617152 w 1729902"/>
                <a:gd name="connsiteY146" fmla="*/ 90889 h 428598"/>
                <a:gd name="connsiteX147" fmla="*/ 1608930 w 1729902"/>
                <a:gd name="connsiteY147" fmla="*/ 96313 h 428598"/>
                <a:gd name="connsiteX148" fmla="*/ 1603511 w 1729902"/>
                <a:gd name="connsiteY148" fmla="*/ 104523 h 428598"/>
                <a:gd name="connsiteX149" fmla="*/ 1601760 w 1729902"/>
                <a:gd name="connsiteY149" fmla="*/ 114197 h 428598"/>
                <a:gd name="connsiteX150" fmla="*/ 1601147 w 1729902"/>
                <a:gd name="connsiteY150" fmla="*/ 300721 h 428598"/>
                <a:gd name="connsiteX151" fmla="*/ 1602677 w 1729902"/>
                <a:gd name="connsiteY151" fmla="*/ 310576 h 428598"/>
                <a:gd name="connsiteX152" fmla="*/ 1608061 w 1729902"/>
                <a:gd name="connsiteY152" fmla="*/ 318977 h 428598"/>
                <a:gd name="connsiteX153" fmla="*/ 1616387 w 1729902"/>
                <a:gd name="connsiteY153" fmla="*/ 324492 h 428598"/>
                <a:gd name="connsiteX154" fmla="*/ 1626238 w 1729902"/>
                <a:gd name="connsiteY154" fmla="*/ 326184 h 428598"/>
                <a:gd name="connsiteX155" fmla="*/ 1651764 w 1729902"/>
                <a:gd name="connsiteY155" fmla="*/ 300721 h 428598"/>
                <a:gd name="connsiteX156" fmla="*/ 1652373 w 1729902"/>
                <a:gd name="connsiteY156" fmla="*/ 114197 h 428598"/>
                <a:gd name="connsiteX157" fmla="*/ 1650773 w 1729902"/>
                <a:gd name="connsiteY157" fmla="*/ 104309 h 428598"/>
                <a:gd name="connsiteX158" fmla="*/ 1645255 w 1729902"/>
                <a:gd name="connsiteY158" fmla="*/ 95942 h 428598"/>
                <a:gd name="connsiteX159" fmla="*/ 1636785 w 1729902"/>
                <a:gd name="connsiteY159" fmla="*/ 90566 h 428598"/>
                <a:gd name="connsiteX160" fmla="*/ 1626847 w 1729902"/>
                <a:gd name="connsiteY160" fmla="*/ 89125 h 428598"/>
                <a:gd name="connsiteX161" fmla="*/ 307559 w 1729902"/>
                <a:gd name="connsiteY161" fmla="*/ 88040 h 428598"/>
                <a:gd name="connsiteX162" fmla="*/ 297857 w 1729902"/>
                <a:gd name="connsiteY162" fmla="*/ 89804 h 428598"/>
                <a:gd name="connsiteX163" fmla="*/ 289628 w 1729902"/>
                <a:gd name="connsiteY163" fmla="*/ 95226 h 428598"/>
                <a:gd name="connsiteX164" fmla="*/ 284194 w 1729902"/>
                <a:gd name="connsiteY164" fmla="*/ 103435 h 428598"/>
                <a:gd name="connsiteX165" fmla="*/ 282425 w 1729902"/>
                <a:gd name="connsiteY165" fmla="*/ 113113 h 428598"/>
                <a:gd name="connsiteX166" fmla="*/ 282425 w 1729902"/>
                <a:gd name="connsiteY166" fmla="*/ 299941 h 428598"/>
                <a:gd name="connsiteX167" fmla="*/ 283955 w 1729902"/>
                <a:gd name="connsiteY167" fmla="*/ 309806 h 428598"/>
                <a:gd name="connsiteX168" fmla="*/ 289351 w 1729902"/>
                <a:gd name="connsiteY168" fmla="*/ 318213 h 428598"/>
                <a:gd name="connsiteX169" fmla="*/ 297694 w 1729902"/>
                <a:gd name="connsiteY169" fmla="*/ 323726 h 428598"/>
                <a:gd name="connsiteX170" fmla="*/ 307559 w 1729902"/>
                <a:gd name="connsiteY170" fmla="*/ 325403 h 428598"/>
                <a:gd name="connsiteX171" fmla="*/ 333040 w 1729902"/>
                <a:gd name="connsiteY171" fmla="*/ 299941 h 428598"/>
                <a:gd name="connsiteX172" fmla="*/ 333040 w 1729902"/>
                <a:gd name="connsiteY172" fmla="*/ 113113 h 428598"/>
                <a:gd name="connsiteX173" fmla="*/ 331445 w 1729902"/>
                <a:gd name="connsiteY173" fmla="*/ 103235 h 428598"/>
                <a:gd name="connsiteX174" fmla="*/ 325937 w 1729902"/>
                <a:gd name="connsiteY174" fmla="*/ 94875 h 428598"/>
                <a:gd name="connsiteX175" fmla="*/ 317481 w 1729902"/>
                <a:gd name="connsiteY175" fmla="*/ 89496 h 428598"/>
                <a:gd name="connsiteX176" fmla="*/ 307559 w 1729902"/>
                <a:gd name="connsiteY176" fmla="*/ 88040 h 428598"/>
                <a:gd name="connsiteX177" fmla="*/ 679474 w 1729902"/>
                <a:gd name="connsiteY177" fmla="*/ 88691 h 428598"/>
                <a:gd name="connsiteX178" fmla="*/ 669779 w 1729902"/>
                <a:gd name="connsiteY178" fmla="*/ 90455 h 428598"/>
                <a:gd name="connsiteX179" fmla="*/ 661557 w 1729902"/>
                <a:gd name="connsiteY179" fmla="*/ 95879 h 428598"/>
                <a:gd name="connsiteX180" fmla="*/ 656134 w 1729902"/>
                <a:gd name="connsiteY180" fmla="*/ 104089 h 428598"/>
                <a:gd name="connsiteX181" fmla="*/ 654382 w 1729902"/>
                <a:gd name="connsiteY181" fmla="*/ 113763 h 428598"/>
                <a:gd name="connsiteX182" fmla="*/ 654382 w 1729902"/>
                <a:gd name="connsiteY182" fmla="*/ 299941 h 428598"/>
                <a:gd name="connsiteX183" fmla="*/ 655908 w 1729902"/>
                <a:gd name="connsiteY183" fmla="*/ 309795 h 428598"/>
                <a:gd name="connsiteX184" fmla="*/ 661296 w 1729902"/>
                <a:gd name="connsiteY184" fmla="*/ 318196 h 428598"/>
                <a:gd name="connsiteX185" fmla="*/ 669622 w 1729902"/>
                <a:gd name="connsiteY185" fmla="*/ 323712 h 428598"/>
                <a:gd name="connsiteX186" fmla="*/ 679474 w 1729902"/>
                <a:gd name="connsiteY186" fmla="*/ 325403 h 428598"/>
                <a:gd name="connsiteX187" fmla="*/ 705000 w 1729902"/>
                <a:gd name="connsiteY187" fmla="*/ 299941 h 428598"/>
                <a:gd name="connsiteX188" fmla="*/ 705000 w 1729902"/>
                <a:gd name="connsiteY188" fmla="*/ 113763 h 428598"/>
                <a:gd name="connsiteX189" fmla="*/ 703440 w 1729902"/>
                <a:gd name="connsiteY189" fmla="*/ 103835 h 428598"/>
                <a:gd name="connsiteX190" fmla="*/ 697930 w 1729902"/>
                <a:gd name="connsiteY190" fmla="*/ 95421 h 428598"/>
                <a:gd name="connsiteX191" fmla="*/ 689443 w 1729902"/>
                <a:gd name="connsiteY191" fmla="*/ 90012 h 428598"/>
                <a:gd name="connsiteX192" fmla="*/ 679474 w 1729902"/>
                <a:gd name="connsiteY192" fmla="*/ 88561 h 428598"/>
                <a:gd name="connsiteX193" fmla="*/ 679474 w 1729902"/>
                <a:gd name="connsiteY193" fmla="*/ 88691 h 428598"/>
                <a:gd name="connsiteX194" fmla="*/ 836319 w 1729902"/>
                <a:gd name="connsiteY194" fmla="*/ 275996 h 428598"/>
                <a:gd name="connsiteX195" fmla="*/ 809446 w 1729902"/>
                <a:gd name="connsiteY195" fmla="*/ 250924 h 428598"/>
                <a:gd name="connsiteX196" fmla="*/ 809446 w 1729902"/>
                <a:gd name="connsiteY196" fmla="*/ 143434 h 428598"/>
                <a:gd name="connsiteX197" fmla="*/ 822492 w 1729902"/>
                <a:gd name="connsiteY197" fmla="*/ 143434 h 428598"/>
                <a:gd name="connsiteX198" fmla="*/ 832234 w 1729902"/>
                <a:gd name="connsiteY198" fmla="*/ 141763 h 428598"/>
                <a:gd name="connsiteX199" fmla="*/ 840504 w 1729902"/>
                <a:gd name="connsiteY199" fmla="*/ 136361 h 428598"/>
                <a:gd name="connsiteX200" fmla="*/ 845932 w 1729902"/>
                <a:gd name="connsiteY200" fmla="*/ 128121 h 428598"/>
                <a:gd name="connsiteX201" fmla="*/ 847622 w 1729902"/>
                <a:gd name="connsiteY201" fmla="*/ 118405 h 428598"/>
                <a:gd name="connsiteX202" fmla="*/ 822492 w 1729902"/>
                <a:gd name="connsiteY202" fmla="*/ 92899 h 428598"/>
                <a:gd name="connsiteX203" fmla="*/ 809446 w 1729902"/>
                <a:gd name="connsiteY203" fmla="*/ 92899 h 428598"/>
                <a:gd name="connsiteX204" fmla="*/ 809446 w 1729902"/>
                <a:gd name="connsiteY204" fmla="*/ 25577 h 428598"/>
                <a:gd name="connsiteX205" fmla="*/ 783920 w 1729902"/>
                <a:gd name="connsiteY205" fmla="*/ 114 h 428598"/>
                <a:gd name="connsiteX206" fmla="*/ 774069 w 1729902"/>
                <a:gd name="connsiteY206" fmla="*/ 1805 h 428598"/>
                <a:gd name="connsiteX207" fmla="*/ 765742 w 1729902"/>
                <a:gd name="connsiteY207" fmla="*/ 7321 h 428598"/>
                <a:gd name="connsiteX208" fmla="*/ 760358 w 1729902"/>
                <a:gd name="connsiteY208" fmla="*/ 15722 h 428598"/>
                <a:gd name="connsiteX209" fmla="*/ 758829 w 1729902"/>
                <a:gd name="connsiteY209" fmla="*/ 25577 h 428598"/>
                <a:gd name="connsiteX210" fmla="*/ 758829 w 1729902"/>
                <a:gd name="connsiteY210" fmla="*/ 93506 h 428598"/>
                <a:gd name="connsiteX211" fmla="*/ 739091 w 1729902"/>
                <a:gd name="connsiteY211" fmla="*/ 118405 h 428598"/>
                <a:gd name="connsiteX212" fmla="*/ 744306 w 1729902"/>
                <a:gd name="connsiteY212" fmla="*/ 134497 h 428598"/>
                <a:gd name="connsiteX213" fmla="*/ 758829 w 1729902"/>
                <a:gd name="connsiteY213" fmla="*/ 143217 h 428598"/>
                <a:gd name="connsiteX214" fmla="*/ 758829 w 1729902"/>
                <a:gd name="connsiteY214" fmla="*/ 251444 h 428598"/>
                <a:gd name="connsiteX215" fmla="*/ 828406 w 1729902"/>
                <a:gd name="connsiteY215" fmla="*/ 325186 h 428598"/>
                <a:gd name="connsiteX216" fmla="*/ 857626 w 1729902"/>
                <a:gd name="connsiteY216" fmla="*/ 301762 h 428598"/>
                <a:gd name="connsiteX217" fmla="*/ 836363 w 1729902"/>
                <a:gd name="connsiteY217" fmla="*/ 275736 h 428598"/>
                <a:gd name="connsiteX218" fmla="*/ 836319 w 1729902"/>
                <a:gd name="connsiteY218" fmla="*/ 275996 h 428598"/>
                <a:gd name="connsiteX219" fmla="*/ 1181837 w 1729902"/>
                <a:gd name="connsiteY219" fmla="*/ 71 h 428598"/>
                <a:gd name="connsiteX220" fmla="*/ 1172055 w 1729902"/>
                <a:gd name="connsiteY220" fmla="*/ 1678 h 428598"/>
                <a:gd name="connsiteX221" fmla="*/ 1163750 w 1729902"/>
                <a:gd name="connsiteY221" fmla="*/ 7087 h 428598"/>
                <a:gd name="connsiteX222" fmla="*/ 1158340 w 1729902"/>
                <a:gd name="connsiteY222" fmla="*/ 15379 h 428598"/>
                <a:gd name="connsiteX223" fmla="*/ 1156750 w 1729902"/>
                <a:gd name="connsiteY223" fmla="*/ 25143 h 428598"/>
                <a:gd name="connsiteX224" fmla="*/ 1156750 w 1729902"/>
                <a:gd name="connsiteY224" fmla="*/ 299941 h 428598"/>
                <a:gd name="connsiteX225" fmla="*/ 1158275 w 1729902"/>
                <a:gd name="connsiteY225" fmla="*/ 309795 h 428598"/>
                <a:gd name="connsiteX226" fmla="*/ 1163659 w 1729902"/>
                <a:gd name="connsiteY226" fmla="*/ 318196 h 428598"/>
                <a:gd name="connsiteX227" fmla="*/ 1171985 w 1729902"/>
                <a:gd name="connsiteY227" fmla="*/ 323712 h 428598"/>
                <a:gd name="connsiteX228" fmla="*/ 1181837 w 1729902"/>
                <a:gd name="connsiteY228" fmla="*/ 325403 h 428598"/>
                <a:gd name="connsiteX229" fmla="*/ 1207363 w 1729902"/>
                <a:gd name="connsiteY229" fmla="*/ 299941 h 428598"/>
                <a:gd name="connsiteX230" fmla="*/ 1207363 w 1729902"/>
                <a:gd name="connsiteY230" fmla="*/ 25143 h 428598"/>
                <a:gd name="connsiteX231" fmla="*/ 1181837 w 1729902"/>
                <a:gd name="connsiteY231" fmla="*/ 71 h 428598"/>
                <a:gd name="connsiteX232" fmla="*/ 1329682 w 1729902"/>
                <a:gd name="connsiteY232" fmla="*/ 251184 h 428598"/>
                <a:gd name="connsiteX233" fmla="*/ 1326897 w 1729902"/>
                <a:gd name="connsiteY233" fmla="*/ 247497 h 428598"/>
                <a:gd name="connsiteX234" fmla="*/ 1319070 w 1729902"/>
                <a:gd name="connsiteY234" fmla="*/ 239993 h 428598"/>
                <a:gd name="connsiteX235" fmla="*/ 1315942 w 1729902"/>
                <a:gd name="connsiteY235" fmla="*/ 237824 h 428598"/>
                <a:gd name="connsiteX236" fmla="*/ 1298286 w 1729902"/>
                <a:gd name="connsiteY236" fmla="*/ 230797 h 428598"/>
                <a:gd name="connsiteX237" fmla="*/ 1290242 w 1729902"/>
                <a:gd name="connsiteY237" fmla="*/ 230146 h 428598"/>
                <a:gd name="connsiteX238" fmla="*/ 1267241 w 1729902"/>
                <a:gd name="connsiteY238" fmla="*/ 236045 h 428598"/>
                <a:gd name="connsiteX239" fmla="*/ 1263325 w 1729902"/>
                <a:gd name="connsiteY239" fmla="*/ 238431 h 428598"/>
                <a:gd name="connsiteX240" fmla="*/ 1247838 w 1729902"/>
                <a:gd name="connsiteY240" fmla="*/ 255588 h 428598"/>
                <a:gd name="connsiteX241" fmla="*/ 1242236 w 1729902"/>
                <a:gd name="connsiteY241" fmla="*/ 277992 h 428598"/>
                <a:gd name="connsiteX242" fmla="*/ 1247838 w 1729902"/>
                <a:gd name="connsiteY242" fmla="*/ 300395 h 428598"/>
                <a:gd name="connsiteX243" fmla="*/ 1263325 w 1729902"/>
                <a:gd name="connsiteY243" fmla="*/ 317552 h 428598"/>
                <a:gd name="connsiteX244" fmla="*/ 1267241 w 1729902"/>
                <a:gd name="connsiteY244" fmla="*/ 319938 h 428598"/>
                <a:gd name="connsiteX245" fmla="*/ 1294614 w 1729902"/>
                <a:gd name="connsiteY245" fmla="*/ 325476 h 428598"/>
                <a:gd name="connsiteX246" fmla="*/ 1320418 w 1729902"/>
                <a:gd name="connsiteY246" fmla="*/ 314819 h 428598"/>
                <a:gd name="connsiteX247" fmla="*/ 1326897 w 1729902"/>
                <a:gd name="connsiteY247" fmla="*/ 308312 h 428598"/>
                <a:gd name="connsiteX248" fmla="*/ 1329682 w 1729902"/>
                <a:gd name="connsiteY248" fmla="*/ 304669 h 428598"/>
                <a:gd name="connsiteX249" fmla="*/ 1334028 w 1729902"/>
                <a:gd name="connsiteY249" fmla="*/ 296557 h 428598"/>
                <a:gd name="connsiteX250" fmla="*/ 1337604 w 1729902"/>
                <a:gd name="connsiteY250" fmla="*/ 273386 h 428598"/>
                <a:gd name="connsiteX251" fmla="*/ 1329682 w 1729902"/>
                <a:gd name="connsiteY251" fmla="*/ 251314 h 428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1729902" h="428598">
                  <a:moveTo>
                    <a:pt x="1682722" y="96586"/>
                  </a:moveTo>
                  <a:lnTo>
                    <a:pt x="1674027" y="96586"/>
                  </a:lnTo>
                  <a:lnTo>
                    <a:pt x="1674027" y="91814"/>
                  </a:lnTo>
                  <a:lnTo>
                    <a:pt x="1695768" y="91814"/>
                  </a:lnTo>
                  <a:lnTo>
                    <a:pt x="1695768" y="96586"/>
                  </a:lnTo>
                  <a:lnTo>
                    <a:pt x="1687289" y="96586"/>
                  </a:lnTo>
                  <a:lnTo>
                    <a:pt x="1687289" y="122613"/>
                  </a:lnTo>
                  <a:lnTo>
                    <a:pt x="1682331" y="122613"/>
                  </a:lnTo>
                  <a:lnTo>
                    <a:pt x="1682722" y="96586"/>
                  </a:lnTo>
                  <a:close/>
                  <a:moveTo>
                    <a:pt x="1700118" y="91814"/>
                  </a:moveTo>
                  <a:lnTo>
                    <a:pt x="1707814" y="91814"/>
                  </a:lnTo>
                  <a:lnTo>
                    <a:pt x="1715032" y="113503"/>
                  </a:lnTo>
                  <a:lnTo>
                    <a:pt x="1722163" y="91814"/>
                  </a:lnTo>
                  <a:lnTo>
                    <a:pt x="1729902" y="91814"/>
                  </a:lnTo>
                  <a:lnTo>
                    <a:pt x="1729902" y="122526"/>
                  </a:lnTo>
                  <a:lnTo>
                    <a:pt x="1725035" y="122526"/>
                  </a:lnTo>
                  <a:lnTo>
                    <a:pt x="1725035" y="97844"/>
                  </a:lnTo>
                  <a:lnTo>
                    <a:pt x="1716596" y="122526"/>
                  </a:lnTo>
                  <a:lnTo>
                    <a:pt x="1713163" y="122526"/>
                  </a:lnTo>
                  <a:lnTo>
                    <a:pt x="1704859" y="97844"/>
                  </a:lnTo>
                  <a:lnTo>
                    <a:pt x="1704859" y="122526"/>
                  </a:lnTo>
                  <a:lnTo>
                    <a:pt x="1700161" y="122526"/>
                  </a:lnTo>
                  <a:lnTo>
                    <a:pt x="1700118" y="91814"/>
                  </a:lnTo>
                  <a:close/>
                  <a:moveTo>
                    <a:pt x="1531574" y="90860"/>
                  </a:moveTo>
                  <a:cubicBezTo>
                    <a:pt x="1525534" y="90641"/>
                    <a:pt x="1519628" y="92688"/>
                    <a:pt x="1515022" y="96598"/>
                  </a:cubicBezTo>
                  <a:cubicBezTo>
                    <a:pt x="1510415" y="100509"/>
                    <a:pt x="1507447" y="105999"/>
                    <a:pt x="1506704" y="111985"/>
                  </a:cubicBezTo>
                  <a:cubicBezTo>
                    <a:pt x="1490004" y="94894"/>
                    <a:pt x="1465699" y="85525"/>
                    <a:pt x="1437783" y="85525"/>
                  </a:cubicBezTo>
                  <a:cubicBezTo>
                    <a:pt x="1421605" y="85409"/>
                    <a:pt x="1405569" y="88509"/>
                    <a:pt x="1390608" y="94645"/>
                  </a:cubicBezTo>
                  <a:cubicBezTo>
                    <a:pt x="1375646" y="100781"/>
                    <a:pt x="1362061" y="109830"/>
                    <a:pt x="1350646" y="121263"/>
                  </a:cubicBezTo>
                  <a:cubicBezTo>
                    <a:pt x="1339230" y="132696"/>
                    <a:pt x="1330208" y="146283"/>
                    <a:pt x="1324116" y="161232"/>
                  </a:cubicBezTo>
                  <a:cubicBezTo>
                    <a:pt x="1318023" y="176181"/>
                    <a:pt x="1314977" y="192191"/>
                    <a:pt x="1315159" y="208327"/>
                  </a:cubicBezTo>
                  <a:cubicBezTo>
                    <a:pt x="1315159" y="210019"/>
                    <a:pt x="1315159" y="211623"/>
                    <a:pt x="1315159" y="213272"/>
                  </a:cubicBezTo>
                  <a:cubicBezTo>
                    <a:pt x="1328183" y="218356"/>
                    <a:pt x="1339369" y="227239"/>
                    <a:pt x="1347260" y="238760"/>
                  </a:cubicBezTo>
                  <a:cubicBezTo>
                    <a:pt x="1355148" y="250282"/>
                    <a:pt x="1359372" y="263908"/>
                    <a:pt x="1359380" y="277861"/>
                  </a:cubicBezTo>
                  <a:cubicBezTo>
                    <a:pt x="1359372" y="285544"/>
                    <a:pt x="1358064" y="293170"/>
                    <a:pt x="1355513" y="300417"/>
                  </a:cubicBezTo>
                  <a:cubicBezTo>
                    <a:pt x="1378301" y="320080"/>
                    <a:pt x="1407525" y="330728"/>
                    <a:pt x="1437653" y="330348"/>
                  </a:cubicBezTo>
                  <a:cubicBezTo>
                    <a:pt x="1463201" y="329742"/>
                    <a:pt x="1487658" y="319873"/>
                    <a:pt x="1506444" y="302587"/>
                  </a:cubicBezTo>
                  <a:cubicBezTo>
                    <a:pt x="1506735" y="308916"/>
                    <a:pt x="1509533" y="314871"/>
                    <a:pt x="1514218" y="319148"/>
                  </a:cubicBezTo>
                  <a:cubicBezTo>
                    <a:pt x="1518907" y="323425"/>
                    <a:pt x="1525099" y="325674"/>
                    <a:pt x="1531444" y="325403"/>
                  </a:cubicBezTo>
                  <a:cubicBezTo>
                    <a:pt x="1547188" y="325403"/>
                    <a:pt x="1556926" y="315643"/>
                    <a:pt x="1556926" y="299941"/>
                  </a:cubicBezTo>
                  <a:lnTo>
                    <a:pt x="1556926" y="115932"/>
                  </a:lnTo>
                  <a:cubicBezTo>
                    <a:pt x="1557143" y="112554"/>
                    <a:pt x="1556626" y="109169"/>
                    <a:pt x="1555418" y="106006"/>
                  </a:cubicBezTo>
                  <a:cubicBezTo>
                    <a:pt x="1554210" y="102843"/>
                    <a:pt x="1552333" y="99976"/>
                    <a:pt x="1549917" y="97599"/>
                  </a:cubicBezTo>
                  <a:cubicBezTo>
                    <a:pt x="1547501" y="95222"/>
                    <a:pt x="1544602" y="93390"/>
                    <a:pt x="1541417" y="92228"/>
                  </a:cubicBezTo>
                  <a:cubicBezTo>
                    <a:pt x="1538227" y="91065"/>
                    <a:pt x="1534829" y="90598"/>
                    <a:pt x="1531444" y="90860"/>
                  </a:cubicBezTo>
                  <a:lnTo>
                    <a:pt x="1531574" y="90860"/>
                  </a:lnTo>
                  <a:close/>
                  <a:moveTo>
                    <a:pt x="1437436" y="276430"/>
                  </a:moveTo>
                  <a:cubicBezTo>
                    <a:pt x="1423899" y="276447"/>
                    <a:pt x="1410667" y="272459"/>
                    <a:pt x="1399403" y="264970"/>
                  </a:cubicBezTo>
                  <a:cubicBezTo>
                    <a:pt x="1388144" y="257480"/>
                    <a:pt x="1379365" y="246828"/>
                    <a:pt x="1374177" y="234358"/>
                  </a:cubicBezTo>
                  <a:cubicBezTo>
                    <a:pt x="1368984" y="221890"/>
                    <a:pt x="1367619" y="208165"/>
                    <a:pt x="1370253" y="194922"/>
                  </a:cubicBezTo>
                  <a:cubicBezTo>
                    <a:pt x="1372886" y="181680"/>
                    <a:pt x="1379400" y="169514"/>
                    <a:pt x="1388965" y="159964"/>
                  </a:cubicBezTo>
                  <a:cubicBezTo>
                    <a:pt x="1398534" y="150415"/>
                    <a:pt x="1410723" y="143911"/>
                    <a:pt x="1423999" y="141276"/>
                  </a:cubicBezTo>
                  <a:cubicBezTo>
                    <a:pt x="1437270" y="138641"/>
                    <a:pt x="1451029" y="139993"/>
                    <a:pt x="1463531" y="145162"/>
                  </a:cubicBezTo>
                  <a:cubicBezTo>
                    <a:pt x="1476033" y="150330"/>
                    <a:pt x="1486719" y="159083"/>
                    <a:pt x="1494232" y="170311"/>
                  </a:cubicBezTo>
                  <a:cubicBezTo>
                    <a:pt x="1501750" y="181539"/>
                    <a:pt x="1505757" y="194739"/>
                    <a:pt x="1505748" y="208240"/>
                  </a:cubicBezTo>
                  <a:cubicBezTo>
                    <a:pt x="1505735" y="226314"/>
                    <a:pt x="1498535" y="243645"/>
                    <a:pt x="1485728" y="256430"/>
                  </a:cubicBezTo>
                  <a:cubicBezTo>
                    <a:pt x="1472922" y="269214"/>
                    <a:pt x="1455552" y="276407"/>
                    <a:pt x="1437436" y="276430"/>
                  </a:cubicBezTo>
                  <a:close/>
                  <a:moveTo>
                    <a:pt x="1082784" y="90860"/>
                  </a:moveTo>
                  <a:cubicBezTo>
                    <a:pt x="1076743" y="90641"/>
                    <a:pt x="1070842" y="92690"/>
                    <a:pt x="1066244" y="96602"/>
                  </a:cubicBezTo>
                  <a:cubicBezTo>
                    <a:pt x="1061651" y="100513"/>
                    <a:pt x="1058692" y="106003"/>
                    <a:pt x="1057953" y="111985"/>
                  </a:cubicBezTo>
                  <a:cubicBezTo>
                    <a:pt x="1041257" y="94894"/>
                    <a:pt x="1016948" y="85525"/>
                    <a:pt x="989032" y="85525"/>
                  </a:cubicBezTo>
                  <a:cubicBezTo>
                    <a:pt x="972857" y="85409"/>
                    <a:pt x="956818" y="88509"/>
                    <a:pt x="941856" y="94645"/>
                  </a:cubicBezTo>
                  <a:cubicBezTo>
                    <a:pt x="926894" y="100781"/>
                    <a:pt x="913310" y="109830"/>
                    <a:pt x="901894" y="121263"/>
                  </a:cubicBezTo>
                  <a:cubicBezTo>
                    <a:pt x="890478" y="132696"/>
                    <a:pt x="881461" y="146283"/>
                    <a:pt x="875369" y="161232"/>
                  </a:cubicBezTo>
                  <a:cubicBezTo>
                    <a:pt x="869276" y="176181"/>
                    <a:pt x="866230" y="192191"/>
                    <a:pt x="866408" y="208327"/>
                  </a:cubicBezTo>
                  <a:cubicBezTo>
                    <a:pt x="866408" y="277731"/>
                    <a:pt x="919111" y="330348"/>
                    <a:pt x="989032" y="330348"/>
                  </a:cubicBezTo>
                  <a:cubicBezTo>
                    <a:pt x="1014584" y="329742"/>
                    <a:pt x="1039037" y="319873"/>
                    <a:pt x="1057823" y="302587"/>
                  </a:cubicBezTo>
                  <a:cubicBezTo>
                    <a:pt x="1058118" y="308908"/>
                    <a:pt x="1060908" y="314857"/>
                    <a:pt x="1065584" y="319132"/>
                  </a:cubicBezTo>
                  <a:cubicBezTo>
                    <a:pt x="1070260" y="323407"/>
                    <a:pt x="1076443" y="325662"/>
                    <a:pt x="1082784" y="325403"/>
                  </a:cubicBezTo>
                  <a:cubicBezTo>
                    <a:pt x="1098523" y="325403"/>
                    <a:pt x="1108305" y="315643"/>
                    <a:pt x="1108305" y="299941"/>
                  </a:cubicBezTo>
                  <a:lnTo>
                    <a:pt x="1108305" y="115932"/>
                  </a:lnTo>
                  <a:cubicBezTo>
                    <a:pt x="1108305" y="100707"/>
                    <a:pt x="1098306" y="90860"/>
                    <a:pt x="1082784" y="90860"/>
                  </a:cubicBezTo>
                  <a:close/>
                  <a:moveTo>
                    <a:pt x="986902" y="276430"/>
                  </a:moveTo>
                  <a:cubicBezTo>
                    <a:pt x="973366" y="276447"/>
                    <a:pt x="960134" y="272459"/>
                    <a:pt x="948874" y="264970"/>
                  </a:cubicBezTo>
                  <a:cubicBezTo>
                    <a:pt x="937610" y="257480"/>
                    <a:pt x="928832" y="246828"/>
                    <a:pt x="923644" y="234358"/>
                  </a:cubicBezTo>
                  <a:cubicBezTo>
                    <a:pt x="918455" y="221890"/>
                    <a:pt x="917091" y="208165"/>
                    <a:pt x="919720" y="194922"/>
                  </a:cubicBezTo>
                  <a:cubicBezTo>
                    <a:pt x="922353" y="181680"/>
                    <a:pt x="928867" y="169514"/>
                    <a:pt x="938432" y="159964"/>
                  </a:cubicBezTo>
                  <a:cubicBezTo>
                    <a:pt x="948001" y="150415"/>
                    <a:pt x="960190" y="143911"/>
                    <a:pt x="973466" y="141276"/>
                  </a:cubicBezTo>
                  <a:cubicBezTo>
                    <a:pt x="986737" y="138641"/>
                    <a:pt x="1000495" y="139993"/>
                    <a:pt x="1012998" y="145162"/>
                  </a:cubicBezTo>
                  <a:cubicBezTo>
                    <a:pt x="1025504" y="150330"/>
                    <a:pt x="1036186" y="159083"/>
                    <a:pt x="1043704" y="170311"/>
                  </a:cubicBezTo>
                  <a:cubicBezTo>
                    <a:pt x="1051217" y="181539"/>
                    <a:pt x="1055224" y="194739"/>
                    <a:pt x="1055215" y="208240"/>
                  </a:cubicBezTo>
                  <a:cubicBezTo>
                    <a:pt x="1055202" y="226314"/>
                    <a:pt x="1048001" y="243645"/>
                    <a:pt x="1035195" y="256430"/>
                  </a:cubicBezTo>
                  <a:cubicBezTo>
                    <a:pt x="1022388" y="269214"/>
                    <a:pt x="1005019" y="276407"/>
                    <a:pt x="986902" y="276430"/>
                  </a:cubicBezTo>
                  <a:close/>
                  <a:moveTo>
                    <a:pt x="216374" y="71"/>
                  </a:moveTo>
                  <a:cubicBezTo>
                    <a:pt x="212991" y="-191"/>
                    <a:pt x="209591" y="275"/>
                    <a:pt x="206404" y="1438"/>
                  </a:cubicBezTo>
                  <a:cubicBezTo>
                    <a:pt x="203217" y="2601"/>
                    <a:pt x="200317" y="4433"/>
                    <a:pt x="197902" y="6810"/>
                  </a:cubicBezTo>
                  <a:cubicBezTo>
                    <a:pt x="195485" y="9187"/>
                    <a:pt x="193610" y="12054"/>
                    <a:pt x="192400" y="15217"/>
                  </a:cubicBezTo>
                  <a:cubicBezTo>
                    <a:pt x="191191" y="18380"/>
                    <a:pt x="190677" y="21765"/>
                    <a:pt x="190893" y="25143"/>
                  </a:cubicBezTo>
                  <a:lnTo>
                    <a:pt x="190893" y="112332"/>
                  </a:lnTo>
                  <a:cubicBezTo>
                    <a:pt x="174847" y="94981"/>
                    <a:pt x="150801" y="85525"/>
                    <a:pt x="122580" y="85525"/>
                  </a:cubicBezTo>
                  <a:cubicBezTo>
                    <a:pt x="57355" y="85525"/>
                    <a:pt x="0" y="142913"/>
                    <a:pt x="0" y="208327"/>
                  </a:cubicBezTo>
                  <a:cubicBezTo>
                    <a:pt x="0" y="273740"/>
                    <a:pt x="57311" y="330348"/>
                    <a:pt x="122580" y="330348"/>
                  </a:cubicBezTo>
                  <a:cubicBezTo>
                    <a:pt x="148972" y="329717"/>
                    <a:pt x="174144" y="319130"/>
                    <a:pt x="193023" y="300721"/>
                  </a:cubicBezTo>
                  <a:cubicBezTo>
                    <a:pt x="195850" y="316684"/>
                    <a:pt x="205503" y="325403"/>
                    <a:pt x="220505" y="325403"/>
                  </a:cubicBezTo>
                  <a:cubicBezTo>
                    <a:pt x="223428" y="325421"/>
                    <a:pt x="226323" y="324839"/>
                    <a:pt x="229010" y="323693"/>
                  </a:cubicBezTo>
                  <a:cubicBezTo>
                    <a:pt x="231697" y="322547"/>
                    <a:pt x="234119" y="320861"/>
                    <a:pt x="236126" y="318742"/>
                  </a:cubicBezTo>
                  <a:cubicBezTo>
                    <a:pt x="238133" y="316622"/>
                    <a:pt x="239680" y="314114"/>
                    <a:pt x="240673" y="311372"/>
                  </a:cubicBezTo>
                  <a:cubicBezTo>
                    <a:pt x="241667" y="308629"/>
                    <a:pt x="242084" y="305713"/>
                    <a:pt x="241899" y="302803"/>
                  </a:cubicBezTo>
                  <a:lnTo>
                    <a:pt x="241899" y="25186"/>
                  </a:lnTo>
                  <a:cubicBezTo>
                    <a:pt x="242065" y="21817"/>
                    <a:pt x="241516" y="18450"/>
                    <a:pt x="240287" y="15306"/>
                  </a:cubicBezTo>
                  <a:cubicBezTo>
                    <a:pt x="239057" y="12163"/>
                    <a:pt x="237176" y="9314"/>
                    <a:pt x="234766" y="6947"/>
                  </a:cubicBezTo>
                  <a:cubicBezTo>
                    <a:pt x="232356" y="4580"/>
                    <a:pt x="229472" y="2747"/>
                    <a:pt x="226302" y="1569"/>
                  </a:cubicBezTo>
                  <a:cubicBezTo>
                    <a:pt x="223132" y="392"/>
                    <a:pt x="219749" y="-104"/>
                    <a:pt x="216374" y="114"/>
                  </a:cubicBezTo>
                  <a:lnTo>
                    <a:pt x="216374" y="71"/>
                  </a:lnTo>
                  <a:close/>
                  <a:moveTo>
                    <a:pt x="122102" y="276430"/>
                  </a:moveTo>
                  <a:cubicBezTo>
                    <a:pt x="108568" y="276447"/>
                    <a:pt x="95333" y="272459"/>
                    <a:pt x="84073" y="264970"/>
                  </a:cubicBezTo>
                  <a:cubicBezTo>
                    <a:pt x="72812" y="257480"/>
                    <a:pt x="64032" y="246828"/>
                    <a:pt x="58843" y="234358"/>
                  </a:cubicBezTo>
                  <a:cubicBezTo>
                    <a:pt x="53654" y="221890"/>
                    <a:pt x="52289" y="208165"/>
                    <a:pt x="54922" y="194922"/>
                  </a:cubicBezTo>
                  <a:cubicBezTo>
                    <a:pt x="57555" y="181680"/>
                    <a:pt x="64067" y="169514"/>
                    <a:pt x="73634" y="159964"/>
                  </a:cubicBezTo>
                  <a:cubicBezTo>
                    <a:pt x="83201" y="150415"/>
                    <a:pt x="95392" y="143911"/>
                    <a:pt x="108665" y="141276"/>
                  </a:cubicBezTo>
                  <a:cubicBezTo>
                    <a:pt x="121939" y="138641"/>
                    <a:pt x="135697" y="139993"/>
                    <a:pt x="148200" y="145162"/>
                  </a:cubicBezTo>
                  <a:cubicBezTo>
                    <a:pt x="160703" y="150330"/>
                    <a:pt x="171388" y="159083"/>
                    <a:pt x="178902" y="170311"/>
                  </a:cubicBezTo>
                  <a:cubicBezTo>
                    <a:pt x="186417" y="181539"/>
                    <a:pt x="190423" y="194739"/>
                    <a:pt x="190415" y="208240"/>
                  </a:cubicBezTo>
                  <a:cubicBezTo>
                    <a:pt x="190403" y="226314"/>
                    <a:pt x="183203" y="243645"/>
                    <a:pt x="170396" y="256430"/>
                  </a:cubicBezTo>
                  <a:cubicBezTo>
                    <a:pt x="157589" y="269214"/>
                    <a:pt x="140220" y="276407"/>
                    <a:pt x="122102" y="276430"/>
                  </a:cubicBezTo>
                  <a:close/>
                  <a:moveTo>
                    <a:pt x="587634" y="90860"/>
                  </a:moveTo>
                  <a:cubicBezTo>
                    <a:pt x="571330" y="90860"/>
                    <a:pt x="562938" y="98495"/>
                    <a:pt x="560805" y="115455"/>
                  </a:cubicBezTo>
                  <a:cubicBezTo>
                    <a:pt x="541906" y="96907"/>
                    <a:pt x="516649" y="86209"/>
                    <a:pt x="490145" y="85525"/>
                  </a:cubicBezTo>
                  <a:cubicBezTo>
                    <a:pt x="424922" y="85525"/>
                    <a:pt x="367522" y="142740"/>
                    <a:pt x="367522" y="207936"/>
                  </a:cubicBezTo>
                  <a:cubicBezTo>
                    <a:pt x="367522" y="273133"/>
                    <a:pt x="424835" y="330348"/>
                    <a:pt x="490145" y="330348"/>
                  </a:cubicBezTo>
                  <a:cubicBezTo>
                    <a:pt x="519626" y="330348"/>
                    <a:pt x="542979" y="321326"/>
                    <a:pt x="557937" y="304322"/>
                  </a:cubicBezTo>
                  <a:cubicBezTo>
                    <a:pt x="556546" y="353642"/>
                    <a:pt x="532715" y="377631"/>
                    <a:pt x="485187" y="377631"/>
                  </a:cubicBezTo>
                  <a:cubicBezTo>
                    <a:pt x="481776" y="377397"/>
                    <a:pt x="478356" y="377900"/>
                    <a:pt x="475153" y="379097"/>
                  </a:cubicBezTo>
                  <a:cubicBezTo>
                    <a:pt x="471950" y="380297"/>
                    <a:pt x="469043" y="382162"/>
                    <a:pt x="466627" y="384576"/>
                  </a:cubicBezTo>
                  <a:cubicBezTo>
                    <a:pt x="464211" y="386986"/>
                    <a:pt x="462338" y="389887"/>
                    <a:pt x="461134" y="393081"/>
                  </a:cubicBezTo>
                  <a:cubicBezTo>
                    <a:pt x="459935" y="396276"/>
                    <a:pt x="459431" y="399688"/>
                    <a:pt x="459665" y="403091"/>
                  </a:cubicBezTo>
                  <a:cubicBezTo>
                    <a:pt x="459665" y="419317"/>
                    <a:pt x="469578" y="428598"/>
                    <a:pt x="486843" y="428598"/>
                  </a:cubicBezTo>
                  <a:cubicBezTo>
                    <a:pt x="577331" y="428598"/>
                    <a:pt x="609423" y="362879"/>
                    <a:pt x="609423" y="306577"/>
                  </a:cubicBezTo>
                  <a:lnTo>
                    <a:pt x="609423" y="113069"/>
                  </a:lnTo>
                  <a:cubicBezTo>
                    <a:pt x="609558" y="110161"/>
                    <a:pt x="609097" y="107254"/>
                    <a:pt x="608059" y="104532"/>
                  </a:cubicBezTo>
                  <a:cubicBezTo>
                    <a:pt x="607020" y="101810"/>
                    <a:pt x="605434" y="99329"/>
                    <a:pt x="603396" y="97246"/>
                  </a:cubicBezTo>
                  <a:cubicBezTo>
                    <a:pt x="601353" y="95162"/>
                    <a:pt x="598907" y="93520"/>
                    <a:pt x="596204" y="92421"/>
                  </a:cubicBezTo>
                  <a:cubicBezTo>
                    <a:pt x="593501" y="91323"/>
                    <a:pt x="590598" y="90791"/>
                    <a:pt x="587678" y="90860"/>
                  </a:cubicBezTo>
                  <a:lnTo>
                    <a:pt x="587634" y="90860"/>
                  </a:lnTo>
                  <a:close/>
                  <a:moveTo>
                    <a:pt x="489015" y="276430"/>
                  </a:moveTo>
                  <a:cubicBezTo>
                    <a:pt x="475483" y="276447"/>
                    <a:pt x="462247" y="272459"/>
                    <a:pt x="450987" y="264970"/>
                  </a:cubicBezTo>
                  <a:cubicBezTo>
                    <a:pt x="439728" y="257480"/>
                    <a:pt x="430945" y="246828"/>
                    <a:pt x="425757" y="234358"/>
                  </a:cubicBezTo>
                  <a:cubicBezTo>
                    <a:pt x="420568" y="221890"/>
                    <a:pt x="419204" y="208165"/>
                    <a:pt x="421837" y="194922"/>
                  </a:cubicBezTo>
                  <a:cubicBezTo>
                    <a:pt x="424470" y="181680"/>
                    <a:pt x="430980" y="169514"/>
                    <a:pt x="440549" y="159964"/>
                  </a:cubicBezTo>
                  <a:cubicBezTo>
                    <a:pt x="450114" y="150415"/>
                    <a:pt x="462308" y="143911"/>
                    <a:pt x="475579" y="141276"/>
                  </a:cubicBezTo>
                  <a:cubicBezTo>
                    <a:pt x="488855" y="138641"/>
                    <a:pt x="502613" y="139993"/>
                    <a:pt x="515115" y="145162"/>
                  </a:cubicBezTo>
                  <a:cubicBezTo>
                    <a:pt x="527617" y="150330"/>
                    <a:pt x="538303" y="159083"/>
                    <a:pt x="545817" y="170311"/>
                  </a:cubicBezTo>
                  <a:cubicBezTo>
                    <a:pt x="553330" y="181539"/>
                    <a:pt x="557337" y="194739"/>
                    <a:pt x="557328" y="208240"/>
                  </a:cubicBezTo>
                  <a:cubicBezTo>
                    <a:pt x="557315" y="226314"/>
                    <a:pt x="550119" y="243645"/>
                    <a:pt x="537308" y="256430"/>
                  </a:cubicBezTo>
                  <a:cubicBezTo>
                    <a:pt x="524502" y="269214"/>
                    <a:pt x="507132" y="276407"/>
                    <a:pt x="489015" y="276430"/>
                  </a:cubicBezTo>
                  <a:close/>
                  <a:moveTo>
                    <a:pt x="1626847" y="89125"/>
                  </a:moveTo>
                  <a:cubicBezTo>
                    <a:pt x="1623531" y="89054"/>
                    <a:pt x="1620233" y="89654"/>
                    <a:pt x="1617152" y="90889"/>
                  </a:cubicBezTo>
                  <a:cubicBezTo>
                    <a:pt x="1614075" y="92125"/>
                    <a:pt x="1611276" y="93969"/>
                    <a:pt x="1608930" y="96313"/>
                  </a:cubicBezTo>
                  <a:cubicBezTo>
                    <a:pt x="1606588" y="98656"/>
                    <a:pt x="1604741" y="101449"/>
                    <a:pt x="1603511" y="104523"/>
                  </a:cubicBezTo>
                  <a:cubicBezTo>
                    <a:pt x="1602277" y="107596"/>
                    <a:pt x="1601681" y="110887"/>
                    <a:pt x="1601760" y="114197"/>
                  </a:cubicBezTo>
                  <a:lnTo>
                    <a:pt x="1601147" y="300721"/>
                  </a:lnTo>
                  <a:cubicBezTo>
                    <a:pt x="1600964" y="304076"/>
                    <a:pt x="1601486" y="307433"/>
                    <a:pt x="1602677" y="310576"/>
                  </a:cubicBezTo>
                  <a:cubicBezTo>
                    <a:pt x="1603867" y="313719"/>
                    <a:pt x="1605701" y="316581"/>
                    <a:pt x="1608061" y="318977"/>
                  </a:cubicBezTo>
                  <a:cubicBezTo>
                    <a:pt x="1610420" y="321373"/>
                    <a:pt x="1613258" y="323252"/>
                    <a:pt x="1616387" y="324492"/>
                  </a:cubicBezTo>
                  <a:cubicBezTo>
                    <a:pt x="1619520" y="325734"/>
                    <a:pt x="1622875" y="326310"/>
                    <a:pt x="1626238" y="326184"/>
                  </a:cubicBezTo>
                  <a:cubicBezTo>
                    <a:pt x="1641978" y="326184"/>
                    <a:pt x="1651764" y="316424"/>
                    <a:pt x="1651764" y="300721"/>
                  </a:cubicBezTo>
                  <a:lnTo>
                    <a:pt x="1652373" y="114197"/>
                  </a:lnTo>
                  <a:cubicBezTo>
                    <a:pt x="1652547" y="110826"/>
                    <a:pt x="1652003" y="107456"/>
                    <a:pt x="1650773" y="104309"/>
                  </a:cubicBezTo>
                  <a:cubicBezTo>
                    <a:pt x="1649548" y="101162"/>
                    <a:pt x="1647666" y="98311"/>
                    <a:pt x="1645255" y="95942"/>
                  </a:cubicBezTo>
                  <a:cubicBezTo>
                    <a:pt x="1642843" y="93574"/>
                    <a:pt x="1639957" y="91741"/>
                    <a:pt x="1636785" y="90566"/>
                  </a:cubicBezTo>
                  <a:cubicBezTo>
                    <a:pt x="1633613" y="89391"/>
                    <a:pt x="1630223" y="88900"/>
                    <a:pt x="1626847" y="89125"/>
                  </a:cubicBezTo>
                  <a:close/>
                  <a:moveTo>
                    <a:pt x="307559" y="88040"/>
                  </a:moveTo>
                  <a:cubicBezTo>
                    <a:pt x="304239" y="87970"/>
                    <a:pt x="300938" y="88570"/>
                    <a:pt x="297857" y="89804"/>
                  </a:cubicBezTo>
                  <a:cubicBezTo>
                    <a:pt x="294776" y="91039"/>
                    <a:pt x="291977" y="92883"/>
                    <a:pt x="289628" y="95226"/>
                  </a:cubicBezTo>
                  <a:cubicBezTo>
                    <a:pt x="287280" y="97568"/>
                    <a:pt x="285432" y="100361"/>
                    <a:pt x="284194" y="103435"/>
                  </a:cubicBezTo>
                  <a:cubicBezTo>
                    <a:pt x="282956" y="106509"/>
                    <a:pt x="282354" y="109801"/>
                    <a:pt x="282425" y="113113"/>
                  </a:cubicBezTo>
                  <a:lnTo>
                    <a:pt x="282425" y="299941"/>
                  </a:lnTo>
                  <a:cubicBezTo>
                    <a:pt x="282241" y="303299"/>
                    <a:pt x="282762" y="306659"/>
                    <a:pt x="283955" y="309806"/>
                  </a:cubicBezTo>
                  <a:cubicBezTo>
                    <a:pt x="285147" y="312952"/>
                    <a:pt x="286986" y="315816"/>
                    <a:pt x="289351" y="318213"/>
                  </a:cubicBezTo>
                  <a:cubicBezTo>
                    <a:pt x="291717" y="320610"/>
                    <a:pt x="294559" y="322487"/>
                    <a:pt x="297694" y="323726"/>
                  </a:cubicBezTo>
                  <a:cubicBezTo>
                    <a:pt x="300829" y="324964"/>
                    <a:pt x="304189" y="325535"/>
                    <a:pt x="307559" y="325403"/>
                  </a:cubicBezTo>
                  <a:cubicBezTo>
                    <a:pt x="323300" y="325403"/>
                    <a:pt x="333040" y="315643"/>
                    <a:pt x="333040" y="299941"/>
                  </a:cubicBezTo>
                  <a:lnTo>
                    <a:pt x="333040" y="113113"/>
                  </a:lnTo>
                  <a:cubicBezTo>
                    <a:pt x="333213" y="109745"/>
                    <a:pt x="332670" y="106379"/>
                    <a:pt x="331445" y="103235"/>
                  </a:cubicBezTo>
                  <a:cubicBezTo>
                    <a:pt x="330221" y="100092"/>
                    <a:pt x="328344" y="97243"/>
                    <a:pt x="325937" y="94875"/>
                  </a:cubicBezTo>
                  <a:cubicBezTo>
                    <a:pt x="323530" y="92507"/>
                    <a:pt x="320649" y="90674"/>
                    <a:pt x="317481" y="89496"/>
                  </a:cubicBezTo>
                  <a:cubicBezTo>
                    <a:pt x="314314" y="88318"/>
                    <a:pt x="310932" y="87822"/>
                    <a:pt x="307559" y="88040"/>
                  </a:cubicBezTo>
                  <a:close/>
                  <a:moveTo>
                    <a:pt x="679474" y="88691"/>
                  </a:moveTo>
                  <a:cubicBezTo>
                    <a:pt x="676154" y="88620"/>
                    <a:pt x="672856" y="89220"/>
                    <a:pt x="669779" y="90455"/>
                  </a:cubicBezTo>
                  <a:cubicBezTo>
                    <a:pt x="666698" y="91691"/>
                    <a:pt x="663904" y="93536"/>
                    <a:pt x="661557" y="95879"/>
                  </a:cubicBezTo>
                  <a:cubicBezTo>
                    <a:pt x="659210" y="98222"/>
                    <a:pt x="657368" y="101015"/>
                    <a:pt x="656134" y="104089"/>
                  </a:cubicBezTo>
                  <a:cubicBezTo>
                    <a:pt x="654904" y="107163"/>
                    <a:pt x="654304" y="110454"/>
                    <a:pt x="654382" y="113763"/>
                  </a:cubicBezTo>
                  <a:lnTo>
                    <a:pt x="654382" y="299941"/>
                  </a:lnTo>
                  <a:cubicBezTo>
                    <a:pt x="654200" y="303296"/>
                    <a:pt x="654717" y="306652"/>
                    <a:pt x="655908" y="309795"/>
                  </a:cubicBezTo>
                  <a:cubicBezTo>
                    <a:pt x="657098" y="312939"/>
                    <a:pt x="658932" y="315800"/>
                    <a:pt x="661296" y="318196"/>
                  </a:cubicBezTo>
                  <a:cubicBezTo>
                    <a:pt x="663656" y="320592"/>
                    <a:pt x="666494" y="322471"/>
                    <a:pt x="669622" y="323712"/>
                  </a:cubicBezTo>
                  <a:cubicBezTo>
                    <a:pt x="672751" y="324953"/>
                    <a:pt x="676106" y="325529"/>
                    <a:pt x="679474" y="325403"/>
                  </a:cubicBezTo>
                  <a:cubicBezTo>
                    <a:pt x="695214" y="325403"/>
                    <a:pt x="705000" y="315643"/>
                    <a:pt x="705000" y="299941"/>
                  </a:cubicBezTo>
                  <a:lnTo>
                    <a:pt x="705000" y="113763"/>
                  </a:lnTo>
                  <a:cubicBezTo>
                    <a:pt x="705191" y="110381"/>
                    <a:pt x="704661" y="106997"/>
                    <a:pt x="703440" y="103835"/>
                  </a:cubicBezTo>
                  <a:cubicBezTo>
                    <a:pt x="702223" y="100672"/>
                    <a:pt x="700346" y="97805"/>
                    <a:pt x="697930" y="95421"/>
                  </a:cubicBezTo>
                  <a:cubicBezTo>
                    <a:pt x="695518" y="93038"/>
                    <a:pt x="692624" y="91194"/>
                    <a:pt x="689443" y="90012"/>
                  </a:cubicBezTo>
                  <a:cubicBezTo>
                    <a:pt x="686257" y="88828"/>
                    <a:pt x="682863" y="88334"/>
                    <a:pt x="679474" y="88561"/>
                  </a:cubicBezTo>
                  <a:lnTo>
                    <a:pt x="679474" y="88691"/>
                  </a:lnTo>
                  <a:close/>
                  <a:moveTo>
                    <a:pt x="836319" y="275996"/>
                  </a:moveTo>
                  <a:cubicBezTo>
                    <a:pt x="819706" y="274608"/>
                    <a:pt x="809446" y="269923"/>
                    <a:pt x="809446" y="250924"/>
                  </a:cubicBezTo>
                  <a:lnTo>
                    <a:pt x="809446" y="143434"/>
                  </a:lnTo>
                  <a:lnTo>
                    <a:pt x="822492" y="143434"/>
                  </a:lnTo>
                  <a:cubicBezTo>
                    <a:pt x="825820" y="143548"/>
                    <a:pt x="829136" y="142980"/>
                    <a:pt x="832234" y="141763"/>
                  </a:cubicBezTo>
                  <a:cubicBezTo>
                    <a:pt x="835333" y="140546"/>
                    <a:pt x="838144" y="138708"/>
                    <a:pt x="840504" y="136361"/>
                  </a:cubicBezTo>
                  <a:cubicBezTo>
                    <a:pt x="842859" y="134014"/>
                    <a:pt x="844706" y="131209"/>
                    <a:pt x="845932" y="128121"/>
                  </a:cubicBezTo>
                  <a:cubicBezTo>
                    <a:pt x="847157" y="125032"/>
                    <a:pt x="847735" y="121725"/>
                    <a:pt x="847622" y="118405"/>
                  </a:cubicBezTo>
                  <a:cubicBezTo>
                    <a:pt x="847622" y="102919"/>
                    <a:pt x="837753" y="92899"/>
                    <a:pt x="822492" y="92899"/>
                  </a:cubicBezTo>
                  <a:lnTo>
                    <a:pt x="809446" y="92899"/>
                  </a:lnTo>
                  <a:lnTo>
                    <a:pt x="809446" y="25577"/>
                  </a:lnTo>
                  <a:cubicBezTo>
                    <a:pt x="809446" y="9874"/>
                    <a:pt x="799660" y="114"/>
                    <a:pt x="783920" y="114"/>
                  </a:cubicBezTo>
                  <a:cubicBezTo>
                    <a:pt x="780557" y="-12"/>
                    <a:pt x="777197" y="565"/>
                    <a:pt x="774069" y="1805"/>
                  </a:cubicBezTo>
                  <a:cubicBezTo>
                    <a:pt x="770940" y="3046"/>
                    <a:pt x="768102" y="4925"/>
                    <a:pt x="765742" y="7321"/>
                  </a:cubicBezTo>
                  <a:cubicBezTo>
                    <a:pt x="763383" y="9717"/>
                    <a:pt x="761545" y="12579"/>
                    <a:pt x="760358" y="15722"/>
                  </a:cubicBezTo>
                  <a:cubicBezTo>
                    <a:pt x="759168" y="18865"/>
                    <a:pt x="758646" y="22222"/>
                    <a:pt x="758829" y="25577"/>
                  </a:cubicBezTo>
                  <a:lnTo>
                    <a:pt x="758829" y="93506"/>
                  </a:lnTo>
                  <a:cubicBezTo>
                    <a:pt x="746613" y="95371"/>
                    <a:pt x="739091" y="104784"/>
                    <a:pt x="739091" y="118405"/>
                  </a:cubicBezTo>
                  <a:cubicBezTo>
                    <a:pt x="738822" y="124221"/>
                    <a:pt x="740677" y="129937"/>
                    <a:pt x="744306" y="134497"/>
                  </a:cubicBezTo>
                  <a:cubicBezTo>
                    <a:pt x="747934" y="139058"/>
                    <a:pt x="753092" y="142155"/>
                    <a:pt x="758829" y="143217"/>
                  </a:cubicBezTo>
                  <a:lnTo>
                    <a:pt x="758829" y="251444"/>
                  </a:lnTo>
                  <a:cubicBezTo>
                    <a:pt x="758829" y="298466"/>
                    <a:pt x="784181" y="325186"/>
                    <a:pt x="828406" y="325186"/>
                  </a:cubicBezTo>
                  <a:cubicBezTo>
                    <a:pt x="846709" y="325186"/>
                    <a:pt x="857626" y="316511"/>
                    <a:pt x="857626" y="301762"/>
                  </a:cubicBezTo>
                  <a:cubicBezTo>
                    <a:pt x="857626" y="287014"/>
                    <a:pt x="849886" y="277211"/>
                    <a:pt x="836363" y="275736"/>
                  </a:cubicBezTo>
                  <a:lnTo>
                    <a:pt x="836319" y="275996"/>
                  </a:lnTo>
                  <a:close/>
                  <a:moveTo>
                    <a:pt x="1181837" y="71"/>
                  </a:moveTo>
                  <a:cubicBezTo>
                    <a:pt x="1178499" y="-77"/>
                    <a:pt x="1175166" y="470"/>
                    <a:pt x="1172055" y="1678"/>
                  </a:cubicBezTo>
                  <a:cubicBezTo>
                    <a:pt x="1168939" y="2886"/>
                    <a:pt x="1166110" y="4728"/>
                    <a:pt x="1163750" y="7087"/>
                  </a:cubicBezTo>
                  <a:cubicBezTo>
                    <a:pt x="1161391" y="9447"/>
                    <a:pt x="1159548" y="12270"/>
                    <a:pt x="1158340" y="15379"/>
                  </a:cubicBezTo>
                  <a:cubicBezTo>
                    <a:pt x="1157136" y="18488"/>
                    <a:pt x="1156593" y="21813"/>
                    <a:pt x="1156750" y="25143"/>
                  </a:cubicBezTo>
                  <a:lnTo>
                    <a:pt x="1156750" y="299941"/>
                  </a:lnTo>
                  <a:cubicBezTo>
                    <a:pt x="1156563" y="303296"/>
                    <a:pt x="1157084" y="306652"/>
                    <a:pt x="1158275" y="309795"/>
                  </a:cubicBezTo>
                  <a:cubicBezTo>
                    <a:pt x="1159466" y="312939"/>
                    <a:pt x="1161300" y="315800"/>
                    <a:pt x="1163659" y="318196"/>
                  </a:cubicBezTo>
                  <a:cubicBezTo>
                    <a:pt x="1166019" y="320592"/>
                    <a:pt x="1168857" y="322471"/>
                    <a:pt x="1171985" y="323712"/>
                  </a:cubicBezTo>
                  <a:cubicBezTo>
                    <a:pt x="1175119" y="324953"/>
                    <a:pt x="1178473" y="325529"/>
                    <a:pt x="1181837" y="325403"/>
                  </a:cubicBezTo>
                  <a:cubicBezTo>
                    <a:pt x="1197581" y="325403"/>
                    <a:pt x="1207363" y="315643"/>
                    <a:pt x="1207363" y="299941"/>
                  </a:cubicBezTo>
                  <a:lnTo>
                    <a:pt x="1207363" y="25143"/>
                  </a:lnTo>
                  <a:cubicBezTo>
                    <a:pt x="1207363" y="9701"/>
                    <a:pt x="1197581" y="71"/>
                    <a:pt x="1181837" y="71"/>
                  </a:cubicBezTo>
                  <a:close/>
                  <a:moveTo>
                    <a:pt x="1329682" y="251184"/>
                  </a:moveTo>
                  <a:cubicBezTo>
                    <a:pt x="1328826" y="249901"/>
                    <a:pt x="1327896" y="248670"/>
                    <a:pt x="1326897" y="247497"/>
                  </a:cubicBezTo>
                  <a:cubicBezTo>
                    <a:pt x="1324576" y="244716"/>
                    <a:pt x="1321952" y="242199"/>
                    <a:pt x="1319070" y="239993"/>
                  </a:cubicBezTo>
                  <a:cubicBezTo>
                    <a:pt x="1318071" y="239255"/>
                    <a:pt x="1317028" y="238518"/>
                    <a:pt x="1315942" y="237824"/>
                  </a:cubicBezTo>
                  <a:cubicBezTo>
                    <a:pt x="1310592" y="234319"/>
                    <a:pt x="1304587" y="231929"/>
                    <a:pt x="1298286" y="230797"/>
                  </a:cubicBezTo>
                  <a:cubicBezTo>
                    <a:pt x="1295626" y="230359"/>
                    <a:pt x="1292936" y="230142"/>
                    <a:pt x="1290242" y="230146"/>
                  </a:cubicBezTo>
                  <a:cubicBezTo>
                    <a:pt x="1282198" y="230133"/>
                    <a:pt x="1274280" y="232163"/>
                    <a:pt x="1267241" y="236045"/>
                  </a:cubicBezTo>
                  <a:cubicBezTo>
                    <a:pt x="1265885" y="236757"/>
                    <a:pt x="1264577" y="237554"/>
                    <a:pt x="1263325" y="238431"/>
                  </a:cubicBezTo>
                  <a:cubicBezTo>
                    <a:pt x="1256833" y="242799"/>
                    <a:pt x="1251514" y="248691"/>
                    <a:pt x="1247838" y="255588"/>
                  </a:cubicBezTo>
                  <a:cubicBezTo>
                    <a:pt x="1244161" y="262486"/>
                    <a:pt x="1242236" y="270179"/>
                    <a:pt x="1242236" y="277992"/>
                  </a:cubicBezTo>
                  <a:cubicBezTo>
                    <a:pt x="1242236" y="285804"/>
                    <a:pt x="1244161" y="293497"/>
                    <a:pt x="1247838" y="300395"/>
                  </a:cubicBezTo>
                  <a:cubicBezTo>
                    <a:pt x="1251514" y="307292"/>
                    <a:pt x="1256833" y="313184"/>
                    <a:pt x="1263325" y="317552"/>
                  </a:cubicBezTo>
                  <a:cubicBezTo>
                    <a:pt x="1264590" y="318413"/>
                    <a:pt x="1265894" y="319210"/>
                    <a:pt x="1267241" y="319938"/>
                  </a:cubicBezTo>
                  <a:cubicBezTo>
                    <a:pt x="1275610" y="324459"/>
                    <a:pt x="1285140" y="326388"/>
                    <a:pt x="1294614" y="325476"/>
                  </a:cubicBezTo>
                  <a:cubicBezTo>
                    <a:pt x="1304087" y="324564"/>
                    <a:pt x="1313074" y="320854"/>
                    <a:pt x="1320418" y="314819"/>
                  </a:cubicBezTo>
                  <a:cubicBezTo>
                    <a:pt x="1322790" y="312872"/>
                    <a:pt x="1324963" y="310692"/>
                    <a:pt x="1326897" y="308312"/>
                  </a:cubicBezTo>
                  <a:cubicBezTo>
                    <a:pt x="1327888" y="307146"/>
                    <a:pt x="1328818" y="305930"/>
                    <a:pt x="1329682" y="304669"/>
                  </a:cubicBezTo>
                  <a:cubicBezTo>
                    <a:pt x="1331377" y="302103"/>
                    <a:pt x="1332833" y="299387"/>
                    <a:pt x="1334028" y="296557"/>
                  </a:cubicBezTo>
                  <a:cubicBezTo>
                    <a:pt x="1337135" y="289250"/>
                    <a:pt x="1338361" y="281286"/>
                    <a:pt x="1337604" y="273386"/>
                  </a:cubicBezTo>
                  <a:cubicBezTo>
                    <a:pt x="1336844" y="265486"/>
                    <a:pt x="1334119" y="257900"/>
                    <a:pt x="1329682" y="251314"/>
                  </a:cubicBezTo>
                </a:path>
              </a:pathLst>
            </a:custGeom>
            <a:grpFill/>
            <a:ln w="4341"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24069B86-A465-2540-87D7-75009B7C5DFA}"/>
                </a:ext>
              </a:extLst>
            </p:cNvPr>
            <p:cNvSpPr/>
            <p:nvPr/>
          </p:nvSpPr>
          <p:spPr>
            <a:xfrm>
              <a:off x="9413207" y="4268016"/>
              <a:ext cx="1408602" cy="94482"/>
            </a:xfrm>
            <a:custGeom>
              <a:avLst/>
              <a:gdLst>
                <a:gd name="connsiteX0" fmla="*/ 956896 w 1408602"/>
                <a:gd name="connsiteY0" fmla="*/ 36021 h 94482"/>
                <a:gd name="connsiteX1" fmla="*/ 958117 w 1408602"/>
                <a:gd name="connsiteY1" fmla="*/ 46561 h 94482"/>
                <a:gd name="connsiteX2" fmla="*/ 957639 w 1408602"/>
                <a:gd name="connsiteY2" fmla="*/ 52678 h 94482"/>
                <a:gd name="connsiteX3" fmla="*/ 956548 w 1408602"/>
                <a:gd name="connsiteY3" fmla="*/ 58404 h 94482"/>
                <a:gd name="connsiteX4" fmla="*/ 952202 w 1408602"/>
                <a:gd name="connsiteY4" fmla="*/ 68944 h 94482"/>
                <a:gd name="connsiteX5" fmla="*/ 929940 w 1408602"/>
                <a:gd name="connsiteY5" fmla="*/ 89388 h 94482"/>
                <a:gd name="connsiteX6" fmla="*/ 899782 w 1408602"/>
                <a:gd name="connsiteY6" fmla="*/ 91869 h 94482"/>
                <a:gd name="connsiteX7" fmla="*/ 874460 w 1408602"/>
                <a:gd name="connsiteY7" fmla="*/ 75340 h 94482"/>
                <a:gd name="connsiteX8" fmla="*/ 864669 w 1408602"/>
                <a:gd name="connsiteY8" fmla="*/ 46778 h 94482"/>
                <a:gd name="connsiteX9" fmla="*/ 865625 w 1408602"/>
                <a:gd name="connsiteY9" fmla="*/ 37409 h 94482"/>
                <a:gd name="connsiteX10" fmla="*/ 875220 w 1408602"/>
                <a:gd name="connsiteY10" fmla="*/ 17278 h 94482"/>
                <a:gd name="connsiteX11" fmla="*/ 893107 w 1408602"/>
                <a:gd name="connsiteY11" fmla="*/ 3921 h 94482"/>
                <a:gd name="connsiteX12" fmla="*/ 911241 w 1408602"/>
                <a:gd name="connsiteY12" fmla="*/ 233 h 94482"/>
                <a:gd name="connsiteX13" fmla="*/ 929371 w 1408602"/>
                <a:gd name="connsiteY13" fmla="*/ 3921 h 94482"/>
                <a:gd name="connsiteX14" fmla="*/ 953289 w 1408602"/>
                <a:gd name="connsiteY14" fmla="*/ 26348 h 94482"/>
                <a:gd name="connsiteX15" fmla="*/ 956765 w 1408602"/>
                <a:gd name="connsiteY15" fmla="*/ 36021 h 94482"/>
                <a:gd name="connsiteX16" fmla="*/ 956896 w 1408602"/>
                <a:gd name="connsiteY16" fmla="*/ 36021 h 94482"/>
                <a:gd name="connsiteX17" fmla="*/ 46701 w 1408602"/>
                <a:gd name="connsiteY17" fmla="*/ 17 h 94482"/>
                <a:gd name="connsiteX18" fmla="*/ 20768 w 1408602"/>
                <a:gd name="connsiteY18" fmla="*/ 7840 h 94482"/>
                <a:gd name="connsiteX19" fmla="*/ 3564 w 1408602"/>
                <a:gd name="connsiteY19" fmla="*/ 28720 h 94482"/>
                <a:gd name="connsiteX20" fmla="*/ 891 w 1408602"/>
                <a:gd name="connsiteY20" fmla="*/ 55615 h 94482"/>
                <a:gd name="connsiteX21" fmla="*/ 13651 w 1408602"/>
                <a:gd name="connsiteY21" fmla="*/ 79458 h 94482"/>
                <a:gd name="connsiteX22" fmla="*/ 37539 w 1408602"/>
                <a:gd name="connsiteY22" fmla="*/ 92208 h 94482"/>
                <a:gd name="connsiteX23" fmla="*/ 64503 w 1408602"/>
                <a:gd name="connsiteY23" fmla="*/ 89567 h 94482"/>
                <a:gd name="connsiteX24" fmla="*/ 85449 w 1408602"/>
                <a:gd name="connsiteY24" fmla="*/ 72425 h 94482"/>
                <a:gd name="connsiteX25" fmla="*/ 93316 w 1408602"/>
                <a:gd name="connsiteY25" fmla="*/ 46561 h 94482"/>
                <a:gd name="connsiteX26" fmla="*/ 89791 w 1408602"/>
                <a:gd name="connsiteY26" fmla="*/ 28746 h 94482"/>
                <a:gd name="connsiteX27" fmla="*/ 79691 w 1408602"/>
                <a:gd name="connsiteY27" fmla="*/ 13640 h 94482"/>
                <a:gd name="connsiteX28" fmla="*/ 64557 w 1408602"/>
                <a:gd name="connsiteY28" fmla="*/ 3549 h 94482"/>
                <a:gd name="connsiteX29" fmla="*/ 46701 w 1408602"/>
                <a:gd name="connsiteY29" fmla="*/ 17 h 94482"/>
                <a:gd name="connsiteX30" fmla="*/ 1380165 w 1408602"/>
                <a:gd name="connsiteY30" fmla="*/ 3661 h 94482"/>
                <a:gd name="connsiteX31" fmla="*/ 1375819 w 1408602"/>
                <a:gd name="connsiteY31" fmla="*/ 2099 h 94482"/>
                <a:gd name="connsiteX32" fmla="*/ 1369035 w 1408602"/>
                <a:gd name="connsiteY32" fmla="*/ 581 h 94482"/>
                <a:gd name="connsiteX33" fmla="*/ 1361948 w 1408602"/>
                <a:gd name="connsiteY33" fmla="*/ 17 h 94482"/>
                <a:gd name="connsiteX34" fmla="*/ 1348077 w 1408602"/>
                <a:gd name="connsiteY34" fmla="*/ 2099 h 94482"/>
                <a:gd name="connsiteX35" fmla="*/ 1343727 w 1408602"/>
                <a:gd name="connsiteY35" fmla="*/ 3661 h 94482"/>
                <a:gd name="connsiteX36" fmla="*/ 1325845 w 1408602"/>
                <a:gd name="connsiteY36" fmla="*/ 17035 h 94482"/>
                <a:gd name="connsiteX37" fmla="*/ 1316202 w 1408602"/>
                <a:gd name="connsiteY37" fmla="*/ 37148 h 94482"/>
                <a:gd name="connsiteX38" fmla="*/ 1315289 w 1408602"/>
                <a:gd name="connsiteY38" fmla="*/ 46561 h 94482"/>
                <a:gd name="connsiteX39" fmla="*/ 1328900 w 1408602"/>
                <a:gd name="connsiteY39" fmla="*/ 79442 h 94482"/>
                <a:gd name="connsiteX40" fmla="*/ 1335944 w 1408602"/>
                <a:gd name="connsiteY40" fmla="*/ 85124 h 94482"/>
                <a:gd name="connsiteX41" fmla="*/ 1348120 w 1408602"/>
                <a:gd name="connsiteY41" fmla="*/ 90980 h 94482"/>
                <a:gd name="connsiteX42" fmla="*/ 1369079 w 1408602"/>
                <a:gd name="connsiteY42" fmla="*/ 92542 h 94482"/>
                <a:gd name="connsiteX43" fmla="*/ 1375862 w 1408602"/>
                <a:gd name="connsiteY43" fmla="*/ 90980 h 94482"/>
                <a:gd name="connsiteX44" fmla="*/ 1388034 w 1408602"/>
                <a:gd name="connsiteY44" fmla="*/ 85124 h 94482"/>
                <a:gd name="connsiteX45" fmla="*/ 1394948 w 1408602"/>
                <a:gd name="connsiteY45" fmla="*/ 79442 h 94482"/>
                <a:gd name="connsiteX46" fmla="*/ 1405065 w 1408602"/>
                <a:gd name="connsiteY46" fmla="*/ 64361 h 94482"/>
                <a:gd name="connsiteX47" fmla="*/ 1408602 w 1408602"/>
                <a:gd name="connsiteY47" fmla="*/ 46561 h 94482"/>
                <a:gd name="connsiteX48" fmla="*/ 1407646 w 1408602"/>
                <a:gd name="connsiteY48" fmla="*/ 37148 h 94482"/>
                <a:gd name="connsiteX49" fmla="*/ 1398012 w 1408602"/>
                <a:gd name="connsiteY49" fmla="*/ 17027 h 94482"/>
                <a:gd name="connsiteX50" fmla="*/ 1380121 w 1408602"/>
                <a:gd name="connsiteY50" fmla="*/ 3661 h 94482"/>
                <a:gd name="connsiteX51" fmla="*/ 1380165 w 1408602"/>
                <a:gd name="connsiteY51" fmla="*/ 3661 h 94482"/>
                <a:gd name="connsiteX52" fmla="*/ 431705 w 1408602"/>
                <a:gd name="connsiteY52" fmla="*/ 3661 h 94482"/>
                <a:gd name="connsiteX53" fmla="*/ 411603 w 1408602"/>
                <a:gd name="connsiteY53" fmla="*/ 42 h 94482"/>
                <a:gd name="connsiteX54" fmla="*/ 391882 w 1408602"/>
                <a:gd name="connsiteY54" fmla="*/ 5352 h 94482"/>
                <a:gd name="connsiteX55" fmla="*/ 376338 w 1408602"/>
                <a:gd name="connsiteY55" fmla="*/ 18568 h 94482"/>
                <a:gd name="connsiteX56" fmla="*/ 367956 w 1408602"/>
                <a:gd name="connsiteY56" fmla="*/ 37148 h 94482"/>
                <a:gd name="connsiteX57" fmla="*/ 367000 w 1408602"/>
                <a:gd name="connsiteY57" fmla="*/ 46561 h 94482"/>
                <a:gd name="connsiteX58" fmla="*/ 370128 w 1408602"/>
                <a:gd name="connsiteY58" fmla="*/ 64788 h 94482"/>
                <a:gd name="connsiteX59" fmla="*/ 380132 w 1408602"/>
                <a:gd name="connsiteY59" fmla="*/ 80357 h 94482"/>
                <a:gd name="connsiteX60" fmla="*/ 395428 w 1408602"/>
                <a:gd name="connsiteY60" fmla="*/ 90805 h 94482"/>
                <a:gd name="connsiteX61" fmla="*/ 413593 w 1408602"/>
                <a:gd name="connsiteY61" fmla="*/ 94482 h 94482"/>
                <a:gd name="connsiteX62" fmla="*/ 431762 w 1408602"/>
                <a:gd name="connsiteY62" fmla="*/ 90805 h 94482"/>
                <a:gd name="connsiteX63" fmla="*/ 447054 w 1408602"/>
                <a:gd name="connsiteY63" fmla="*/ 80357 h 94482"/>
                <a:gd name="connsiteX64" fmla="*/ 457057 w 1408602"/>
                <a:gd name="connsiteY64" fmla="*/ 64788 h 94482"/>
                <a:gd name="connsiteX65" fmla="*/ 460186 w 1408602"/>
                <a:gd name="connsiteY65" fmla="*/ 46561 h 94482"/>
                <a:gd name="connsiteX66" fmla="*/ 459230 w 1408602"/>
                <a:gd name="connsiteY66" fmla="*/ 37148 h 94482"/>
                <a:gd name="connsiteX67" fmla="*/ 449609 w 1408602"/>
                <a:gd name="connsiteY67" fmla="*/ 17017 h 94482"/>
                <a:gd name="connsiteX68" fmla="*/ 431705 w 1408602"/>
                <a:gd name="connsiteY68" fmla="*/ 3661 h 94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408602" h="94482">
                  <a:moveTo>
                    <a:pt x="956896" y="36021"/>
                  </a:moveTo>
                  <a:cubicBezTo>
                    <a:pt x="957704" y="39477"/>
                    <a:pt x="958112" y="43013"/>
                    <a:pt x="958117" y="46561"/>
                  </a:cubicBezTo>
                  <a:cubicBezTo>
                    <a:pt x="958099" y="48609"/>
                    <a:pt x="957939" y="50653"/>
                    <a:pt x="957639" y="52678"/>
                  </a:cubicBezTo>
                  <a:cubicBezTo>
                    <a:pt x="957408" y="54609"/>
                    <a:pt x="957048" y="56522"/>
                    <a:pt x="956548" y="58404"/>
                  </a:cubicBezTo>
                  <a:cubicBezTo>
                    <a:pt x="955553" y="62086"/>
                    <a:pt x="954093" y="65628"/>
                    <a:pt x="952202" y="68944"/>
                  </a:cubicBezTo>
                  <a:cubicBezTo>
                    <a:pt x="947270" y="78041"/>
                    <a:pt x="939435" y="85236"/>
                    <a:pt x="929940" y="89388"/>
                  </a:cubicBezTo>
                  <a:cubicBezTo>
                    <a:pt x="920445" y="93541"/>
                    <a:pt x="909829" y="94414"/>
                    <a:pt x="899782" y="91869"/>
                  </a:cubicBezTo>
                  <a:cubicBezTo>
                    <a:pt x="889735" y="89325"/>
                    <a:pt x="880822" y="83507"/>
                    <a:pt x="874460" y="75340"/>
                  </a:cubicBezTo>
                  <a:cubicBezTo>
                    <a:pt x="868102" y="67172"/>
                    <a:pt x="864656" y="57121"/>
                    <a:pt x="864669" y="46778"/>
                  </a:cubicBezTo>
                  <a:cubicBezTo>
                    <a:pt x="864652" y="43630"/>
                    <a:pt x="864973" y="40489"/>
                    <a:pt x="865625" y="37409"/>
                  </a:cubicBezTo>
                  <a:cubicBezTo>
                    <a:pt x="867138" y="30021"/>
                    <a:pt x="870431" y="23112"/>
                    <a:pt x="875220" y="17278"/>
                  </a:cubicBezTo>
                  <a:cubicBezTo>
                    <a:pt x="880005" y="11444"/>
                    <a:pt x="886145" y="6859"/>
                    <a:pt x="893107" y="3921"/>
                  </a:cubicBezTo>
                  <a:cubicBezTo>
                    <a:pt x="898843" y="1487"/>
                    <a:pt x="905009" y="233"/>
                    <a:pt x="911241" y="233"/>
                  </a:cubicBezTo>
                  <a:cubicBezTo>
                    <a:pt x="917472" y="233"/>
                    <a:pt x="923639" y="1487"/>
                    <a:pt x="929371" y="3921"/>
                  </a:cubicBezTo>
                  <a:cubicBezTo>
                    <a:pt x="939809" y="8254"/>
                    <a:pt x="948309" y="16225"/>
                    <a:pt x="953289" y="26348"/>
                  </a:cubicBezTo>
                  <a:cubicBezTo>
                    <a:pt x="954788" y="29439"/>
                    <a:pt x="955957" y="32682"/>
                    <a:pt x="956765" y="36021"/>
                  </a:cubicBezTo>
                  <a:lnTo>
                    <a:pt x="956896" y="36021"/>
                  </a:lnTo>
                  <a:close/>
                  <a:moveTo>
                    <a:pt x="46701" y="17"/>
                  </a:moveTo>
                  <a:cubicBezTo>
                    <a:pt x="37471" y="9"/>
                    <a:pt x="28447" y="2731"/>
                    <a:pt x="20768" y="7840"/>
                  </a:cubicBezTo>
                  <a:cubicBezTo>
                    <a:pt x="13089" y="12949"/>
                    <a:pt x="7102" y="20216"/>
                    <a:pt x="3564" y="28720"/>
                  </a:cubicBezTo>
                  <a:cubicBezTo>
                    <a:pt x="26" y="37224"/>
                    <a:pt x="-904" y="46584"/>
                    <a:pt x="891" y="55615"/>
                  </a:cubicBezTo>
                  <a:cubicBezTo>
                    <a:pt x="2687" y="64647"/>
                    <a:pt x="7127" y="72944"/>
                    <a:pt x="13651" y="79458"/>
                  </a:cubicBezTo>
                  <a:cubicBezTo>
                    <a:pt x="20174" y="85971"/>
                    <a:pt x="28487" y="90409"/>
                    <a:pt x="37539" y="92208"/>
                  </a:cubicBezTo>
                  <a:cubicBezTo>
                    <a:pt x="46592" y="94008"/>
                    <a:pt x="55975" y="93088"/>
                    <a:pt x="64503" y="89567"/>
                  </a:cubicBezTo>
                  <a:cubicBezTo>
                    <a:pt x="73031" y="86045"/>
                    <a:pt x="80321" y="80080"/>
                    <a:pt x="85449" y="72425"/>
                  </a:cubicBezTo>
                  <a:cubicBezTo>
                    <a:pt x="90578" y="64769"/>
                    <a:pt x="93316" y="55769"/>
                    <a:pt x="93316" y="46561"/>
                  </a:cubicBezTo>
                  <a:cubicBezTo>
                    <a:pt x="93327" y="40450"/>
                    <a:pt x="92129" y="34396"/>
                    <a:pt x="89791" y="28746"/>
                  </a:cubicBezTo>
                  <a:cubicBezTo>
                    <a:pt x="87454" y="23097"/>
                    <a:pt x="84021" y="17963"/>
                    <a:pt x="79691" y="13640"/>
                  </a:cubicBezTo>
                  <a:cubicBezTo>
                    <a:pt x="75361" y="9316"/>
                    <a:pt x="70218" y="5887"/>
                    <a:pt x="64557" y="3549"/>
                  </a:cubicBezTo>
                  <a:cubicBezTo>
                    <a:pt x="58896" y="1212"/>
                    <a:pt x="52828" y="12"/>
                    <a:pt x="46701" y="17"/>
                  </a:cubicBezTo>
                  <a:close/>
                  <a:moveTo>
                    <a:pt x="1380165" y="3661"/>
                  </a:moveTo>
                  <a:cubicBezTo>
                    <a:pt x="1378774" y="3097"/>
                    <a:pt x="1377340" y="2577"/>
                    <a:pt x="1375819" y="2099"/>
                  </a:cubicBezTo>
                  <a:cubicBezTo>
                    <a:pt x="1373594" y="1435"/>
                    <a:pt x="1371330" y="928"/>
                    <a:pt x="1369035" y="581"/>
                  </a:cubicBezTo>
                  <a:cubicBezTo>
                    <a:pt x="1366693" y="194"/>
                    <a:pt x="1364321" y="6"/>
                    <a:pt x="1361948" y="17"/>
                  </a:cubicBezTo>
                  <a:cubicBezTo>
                    <a:pt x="1357246" y="18"/>
                    <a:pt x="1352570" y="720"/>
                    <a:pt x="1348077" y="2099"/>
                  </a:cubicBezTo>
                  <a:cubicBezTo>
                    <a:pt x="1346638" y="2577"/>
                    <a:pt x="1345204" y="3097"/>
                    <a:pt x="1343727" y="3661"/>
                  </a:cubicBezTo>
                  <a:cubicBezTo>
                    <a:pt x="1336774" y="6615"/>
                    <a:pt x="1330638" y="11204"/>
                    <a:pt x="1325845" y="17035"/>
                  </a:cubicBezTo>
                  <a:cubicBezTo>
                    <a:pt x="1321052" y="22866"/>
                    <a:pt x="1317745" y="29766"/>
                    <a:pt x="1316202" y="37148"/>
                  </a:cubicBezTo>
                  <a:cubicBezTo>
                    <a:pt x="1315589" y="40249"/>
                    <a:pt x="1315281" y="43402"/>
                    <a:pt x="1315289" y="46561"/>
                  </a:cubicBezTo>
                  <a:cubicBezTo>
                    <a:pt x="1315276" y="58888"/>
                    <a:pt x="1320174" y="70714"/>
                    <a:pt x="1328900" y="79442"/>
                  </a:cubicBezTo>
                  <a:cubicBezTo>
                    <a:pt x="1331072" y="81540"/>
                    <a:pt x="1333432" y="83442"/>
                    <a:pt x="1335944" y="85124"/>
                  </a:cubicBezTo>
                  <a:cubicBezTo>
                    <a:pt x="1339703" y="87641"/>
                    <a:pt x="1343801" y="89613"/>
                    <a:pt x="1348120" y="90980"/>
                  </a:cubicBezTo>
                  <a:cubicBezTo>
                    <a:pt x="1354899" y="93053"/>
                    <a:pt x="1362061" y="93587"/>
                    <a:pt x="1369079" y="92542"/>
                  </a:cubicBezTo>
                  <a:cubicBezTo>
                    <a:pt x="1371373" y="92181"/>
                    <a:pt x="1373638" y="91659"/>
                    <a:pt x="1375862" y="90980"/>
                  </a:cubicBezTo>
                  <a:cubicBezTo>
                    <a:pt x="1380182" y="89623"/>
                    <a:pt x="1384280" y="87651"/>
                    <a:pt x="1388034" y="85124"/>
                  </a:cubicBezTo>
                  <a:cubicBezTo>
                    <a:pt x="1390503" y="83435"/>
                    <a:pt x="1392815" y="81534"/>
                    <a:pt x="1394948" y="79442"/>
                  </a:cubicBezTo>
                  <a:cubicBezTo>
                    <a:pt x="1399285" y="75128"/>
                    <a:pt x="1402723" y="70003"/>
                    <a:pt x="1405065" y="64361"/>
                  </a:cubicBezTo>
                  <a:cubicBezTo>
                    <a:pt x="1407407" y="58718"/>
                    <a:pt x="1408611" y="52669"/>
                    <a:pt x="1408602" y="46561"/>
                  </a:cubicBezTo>
                  <a:cubicBezTo>
                    <a:pt x="1408598" y="43400"/>
                    <a:pt x="1408276" y="40247"/>
                    <a:pt x="1407646" y="37148"/>
                  </a:cubicBezTo>
                  <a:cubicBezTo>
                    <a:pt x="1406112" y="29764"/>
                    <a:pt x="1402809" y="22860"/>
                    <a:pt x="1398012" y="17027"/>
                  </a:cubicBezTo>
                  <a:cubicBezTo>
                    <a:pt x="1393219" y="11196"/>
                    <a:pt x="1387083" y="6609"/>
                    <a:pt x="1380121" y="3661"/>
                  </a:cubicBezTo>
                  <a:lnTo>
                    <a:pt x="1380165" y="3661"/>
                  </a:lnTo>
                  <a:close/>
                  <a:moveTo>
                    <a:pt x="431705" y="3661"/>
                  </a:moveTo>
                  <a:cubicBezTo>
                    <a:pt x="425356" y="986"/>
                    <a:pt x="418490" y="-250"/>
                    <a:pt x="411603" y="42"/>
                  </a:cubicBezTo>
                  <a:cubicBezTo>
                    <a:pt x="404719" y="334"/>
                    <a:pt x="397984" y="2148"/>
                    <a:pt x="391882" y="5352"/>
                  </a:cubicBezTo>
                  <a:cubicBezTo>
                    <a:pt x="385785" y="8555"/>
                    <a:pt x="380475" y="13069"/>
                    <a:pt x="376338" y="18568"/>
                  </a:cubicBezTo>
                  <a:cubicBezTo>
                    <a:pt x="372201" y="24066"/>
                    <a:pt x="369337" y="30413"/>
                    <a:pt x="367956" y="37148"/>
                  </a:cubicBezTo>
                  <a:cubicBezTo>
                    <a:pt x="367308" y="40244"/>
                    <a:pt x="366986" y="43399"/>
                    <a:pt x="367000" y="46561"/>
                  </a:cubicBezTo>
                  <a:cubicBezTo>
                    <a:pt x="366808" y="52785"/>
                    <a:pt x="367873" y="58983"/>
                    <a:pt x="370128" y="64788"/>
                  </a:cubicBezTo>
                  <a:cubicBezTo>
                    <a:pt x="372384" y="70593"/>
                    <a:pt x="375786" y="75887"/>
                    <a:pt x="380132" y="80357"/>
                  </a:cubicBezTo>
                  <a:cubicBezTo>
                    <a:pt x="384477" y="84826"/>
                    <a:pt x="389679" y="88379"/>
                    <a:pt x="395428" y="90805"/>
                  </a:cubicBezTo>
                  <a:cubicBezTo>
                    <a:pt x="401173" y="93232"/>
                    <a:pt x="407353" y="94482"/>
                    <a:pt x="413593" y="94482"/>
                  </a:cubicBezTo>
                  <a:cubicBezTo>
                    <a:pt x="419833" y="94482"/>
                    <a:pt x="426013" y="93232"/>
                    <a:pt x="431762" y="90805"/>
                  </a:cubicBezTo>
                  <a:cubicBezTo>
                    <a:pt x="437507" y="88379"/>
                    <a:pt x="442708" y="84826"/>
                    <a:pt x="447054" y="80357"/>
                  </a:cubicBezTo>
                  <a:cubicBezTo>
                    <a:pt x="451399" y="75887"/>
                    <a:pt x="454802" y="70593"/>
                    <a:pt x="457057" y="64788"/>
                  </a:cubicBezTo>
                  <a:cubicBezTo>
                    <a:pt x="459313" y="58983"/>
                    <a:pt x="460377" y="52785"/>
                    <a:pt x="460186" y="46561"/>
                  </a:cubicBezTo>
                  <a:cubicBezTo>
                    <a:pt x="460178" y="43400"/>
                    <a:pt x="459856" y="40247"/>
                    <a:pt x="459230" y="37148"/>
                  </a:cubicBezTo>
                  <a:cubicBezTo>
                    <a:pt x="457705" y="29759"/>
                    <a:pt x="454402" y="22851"/>
                    <a:pt x="449609" y="17017"/>
                  </a:cubicBezTo>
                  <a:cubicBezTo>
                    <a:pt x="444812" y="11183"/>
                    <a:pt x="438667" y="6600"/>
                    <a:pt x="431705" y="3661"/>
                  </a:cubicBezTo>
                  <a:close/>
                </a:path>
              </a:pathLst>
            </a:custGeom>
            <a:grpFill/>
            <a:ln w="4341"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6DE617AD-4598-EF4B-B0BE-75ACC7B0D4B5}"/>
              </a:ext>
            </a:extLst>
          </p:cNvPr>
          <p:cNvSpPr>
            <a:spLocks noGrp="1"/>
          </p:cNvSpPr>
          <p:nvPr>
            <p:ph type="title" hasCustomPrompt="1"/>
          </p:nvPr>
        </p:nvSpPr>
        <p:spPr>
          <a:xfrm>
            <a:off x="2408159" y="3136613"/>
            <a:ext cx="7375683" cy="584775"/>
          </a:xfrm>
          <a:noFill/>
        </p:spPr>
        <p:txBody>
          <a:bodyPr wrap="square" rtlCol="0" anchor="ctr">
            <a:spAutoFit/>
          </a:bodyPr>
          <a:lstStyle>
            <a:lvl1pPr algn="ctr">
              <a:lnSpc>
                <a:spcPct val="100000"/>
              </a:lnSpc>
              <a:defRPr lang="en-US" sz="4000" spc="-150" dirty="0">
                <a:solidFill>
                  <a:schemeClr val="bg1"/>
                </a:solidFill>
                <a:ea typeface="+mn-ea"/>
              </a:defRPr>
            </a:lvl1pPr>
          </a:lstStyle>
          <a:p>
            <a:pPr marL="0" lvl="0" defTabSz="914400" latinLnBrk="0">
              <a:lnSpc>
                <a:spcPct val="80000"/>
              </a:lnSpc>
            </a:pPr>
            <a:r>
              <a:rPr lang="en-US"/>
              <a:t>CLICK TO EDIT TITLE</a:t>
            </a:r>
          </a:p>
        </p:txBody>
      </p:sp>
    </p:spTree>
    <p:extLst>
      <p:ext uri="{BB962C8B-B14F-4D97-AF65-F5344CB8AC3E}">
        <p14:creationId xmlns:p14="http://schemas.microsoft.com/office/powerpoint/2010/main" val="2492569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lide - 2Col w/Subhead #1">
    <p:spTree>
      <p:nvGrpSpPr>
        <p:cNvPr id="1" name=""/>
        <p:cNvGrpSpPr/>
        <p:nvPr/>
      </p:nvGrpSpPr>
      <p:grpSpPr>
        <a:xfrm>
          <a:off x="0" y="0"/>
          <a:ext cx="0" cy="0"/>
          <a:chOff x="0" y="0"/>
          <a:chExt cx="0" cy="0"/>
        </a:xfrm>
      </p:grpSpPr>
      <p:sp>
        <p:nvSpPr>
          <p:cNvPr id="6" name="TextBox 11">
            <a:extLst>
              <a:ext uri="{FF2B5EF4-FFF2-40B4-BE49-F238E27FC236}">
                <a16:creationId xmlns:a16="http://schemas.microsoft.com/office/drawing/2014/main" id="{5EB70C11-09D5-394B-A9F6-AD4E69622F74}"/>
              </a:ext>
            </a:extLst>
          </p:cNvPr>
          <p:cNvSpPr txBox="1">
            <a:spLocks noChangeArrowheads="1"/>
          </p:cNvSpPr>
          <p:nvPr/>
        </p:nvSpPr>
        <p:spPr bwMode="auto">
          <a:xfrm>
            <a:off x="11463655" y="7376160"/>
            <a:ext cx="87947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800">
                <a:solidFill>
                  <a:srgbClr val="7F7F7F"/>
                </a:solidFill>
                <a:latin typeface="Calibri Light" panose="020F0302020204030204" pitchFamily="34" charset="0"/>
              </a:rPr>
              <a:t>© Digital.ai.2020</a:t>
            </a:r>
          </a:p>
        </p:txBody>
      </p:sp>
      <p:sp>
        <p:nvSpPr>
          <p:cNvPr id="8" name="Footer Placeholder 7">
            <a:extLst>
              <a:ext uri="{FF2B5EF4-FFF2-40B4-BE49-F238E27FC236}">
                <a16:creationId xmlns:a16="http://schemas.microsoft.com/office/drawing/2014/main" id="{3D6085BE-F243-0843-8569-B017D772803E}"/>
              </a:ext>
            </a:extLst>
          </p:cNvPr>
          <p:cNvSpPr>
            <a:spLocks noGrp="1"/>
          </p:cNvSpPr>
          <p:nvPr>
            <p:ph type="ftr" sz="quarter" idx="12"/>
          </p:nvPr>
        </p:nvSpPr>
        <p:spPr/>
        <p:txBody>
          <a:bodyPr/>
          <a:lstStyle/>
          <a:p>
            <a:endParaRPr lang="en-US"/>
          </a:p>
        </p:txBody>
      </p:sp>
      <p:sp>
        <p:nvSpPr>
          <p:cNvPr id="2" name="Title 1">
            <a:extLst>
              <a:ext uri="{FF2B5EF4-FFF2-40B4-BE49-F238E27FC236}">
                <a16:creationId xmlns:a16="http://schemas.microsoft.com/office/drawing/2014/main" id="{52C9CEE9-DEAE-7848-8AC3-16CC4223BFE9}"/>
              </a:ext>
            </a:extLst>
          </p:cNvPr>
          <p:cNvSpPr>
            <a:spLocks noGrp="1"/>
          </p:cNvSpPr>
          <p:nvPr>
            <p:ph type="title"/>
          </p:nvPr>
        </p:nvSpPr>
        <p:spPr/>
        <p:txBody>
          <a:bodyPr/>
          <a:lstStyle/>
          <a:p>
            <a:r>
              <a:rPr lang="en-US"/>
              <a:t>Click to edit Master title style</a:t>
            </a:r>
          </a:p>
        </p:txBody>
      </p:sp>
      <p:cxnSp>
        <p:nvCxnSpPr>
          <p:cNvPr id="14" name="Straight Connector 13">
            <a:extLst>
              <a:ext uri="{FF2B5EF4-FFF2-40B4-BE49-F238E27FC236}">
                <a16:creationId xmlns:a16="http://schemas.microsoft.com/office/drawing/2014/main" id="{20CD0320-4AC7-1142-9D6A-E14D4866946F}"/>
              </a:ext>
            </a:extLst>
          </p:cNvPr>
          <p:cNvCxnSpPr>
            <a:cxnSpLocks/>
          </p:cNvCxnSpPr>
          <p:nvPr userDrawn="1"/>
        </p:nvCxnSpPr>
        <p:spPr>
          <a:xfrm>
            <a:off x="515073" y="1249680"/>
            <a:ext cx="11676927" cy="0"/>
          </a:xfrm>
          <a:prstGeom prst="line">
            <a:avLst/>
          </a:prstGeom>
          <a:ln w="50800" cap="flat" cmpd="sng">
            <a:solidFill>
              <a:srgbClr val="649A3D"/>
            </a:solidFill>
            <a:prstDash val="solid"/>
          </a:ln>
        </p:spPr>
        <p:style>
          <a:lnRef idx="1">
            <a:schemeClr val="accent1"/>
          </a:lnRef>
          <a:fillRef idx="0">
            <a:schemeClr val="accent1"/>
          </a:fillRef>
          <a:effectRef idx="0">
            <a:schemeClr val="accent1"/>
          </a:effectRef>
          <a:fontRef idx="minor">
            <a:schemeClr val="tx1"/>
          </a:fontRef>
        </p:style>
      </p:cxnSp>
      <p:sp>
        <p:nvSpPr>
          <p:cNvPr id="9" name="Content Placeholder 8">
            <a:extLst>
              <a:ext uri="{FF2B5EF4-FFF2-40B4-BE49-F238E27FC236}">
                <a16:creationId xmlns:a16="http://schemas.microsoft.com/office/drawing/2014/main" id="{9131C86E-016E-9148-B8C1-2AE6AF057FDB}"/>
              </a:ext>
            </a:extLst>
          </p:cNvPr>
          <p:cNvSpPr>
            <a:spLocks noGrp="1"/>
          </p:cNvSpPr>
          <p:nvPr>
            <p:ph sz="quarter" idx="14"/>
          </p:nvPr>
        </p:nvSpPr>
        <p:spPr>
          <a:xfrm>
            <a:off x="421532" y="2180736"/>
            <a:ext cx="5191429" cy="40634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a:extLst>
              <a:ext uri="{FF2B5EF4-FFF2-40B4-BE49-F238E27FC236}">
                <a16:creationId xmlns:a16="http://schemas.microsoft.com/office/drawing/2014/main" id="{4682AEF4-3FAB-C64B-9953-8DCB604D9550}"/>
              </a:ext>
            </a:extLst>
          </p:cNvPr>
          <p:cNvSpPr>
            <a:spLocks noGrp="1"/>
          </p:cNvSpPr>
          <p:nvPr>
            <p:ph sz="quarter" idx="15"/>
          </p:nvPr>
        </p:nvSpPr>
        <p:spPr>
          <a:xfrm>
            <a:off x="6554183" y="2179983"/>
            <a:ext cx="5191429" cy="40634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a:extLst>
              <a:ext uri="{FF2B5EF4-FFF2-40B4-BE49-F238E27FC236}">
                <a16:creationId xmlns:a16="http://schemas.microsoft.com/office/drawing/2014/main" id="{D89A0D41-66DB-D14A-9B48-E874D8BA6563}"/>
              </a:ext>
            </a:extLst>
          </p:cNvPr>
          <p:cNvCxnSpPr>
            <a:cxnSpLocks/>
          </p:cNvCxnSpPr>
          <p:nvPr userDrawn="1"/>
        </p:nvCxnSpPr>
        <p:spPr>
          <a:xfrm>
            <a:off x="6096000" y="2184085"/>
            <a:ext cx="0" cy="4089300"/>
          </a:xfrm>
          <a:prstGeom prst="line">
            <a:avLst/>
          </a:prstGeom>
          <a:ln w="25400">
            <a:solidFill>
              <a:srgbClr val="649A3D"/>
            </a:solidFill>
          </a:ln>
        </p:spPr>
        <p:style>
          <a:lnRef idx="1">
            <a:schemeClr val="accent1"/>
          </a:lnRef>
          <a:fillRef idx="0">
            <a:schemeClr val="accent1"/>
          </a:fillRef>
          <a:effectRef idx="0">
            <a:schemeClr val="accent1"/>
          </a:effectRef>
          <a:fontRef idx="minor">
            <a:schemeClr val="tx1"/>
          </a:fontRef>
        </p:style>
      </p:cxnSp>
      <p:sp>
        <p:nvSpPr>
          <p:cNvPr id="10" name="Text Placeholder 6">
            <a:extLst>
              <a:ext uri="{FF2B5EF4-FFF2-40B4-BE49-F238E27FC236}">
                <a16:creationId xmlns:a16="http://schemas.microsoft.com/office/drawing/2014/main" id="{9BD07920-B827-6E4D-9CFD-F0BC478FF3F8}"/>
              </a:ext>
            </a:extLst>
          </p:cNvPr>
          <p:cNvSpPr>
            <a:spLocks noGrp="1"/>
          </p:cNvSpPr>
          <p:nvPr>
            <p:ph type="body" sz="quarter" idx="11"/>
          </p:nvPr>
        </p:nvSpPr>
        <p:spPr>
          <a:xfrm>
            <a:off x="421531" y="1451834"/>
            <a:ext cx="11324083" cy="400050"/>
          </a:xfrm>
          <a:prstGeom prst="rect">
            <a:avLst/>
          </a:prstGeom>
        </p:spPr>
        <p:txBody>
          <a:bodyPr/>
          <a:lstStyle>
            <a:lvl1pPr marL="0" indent="0">
              <a:buNone/>
              <a:defRPr sz="2000" b="1">
                <a:solidFill>
                  <a:srgbClr val="649A3D"/>
                </a:solidFill>
                <a:latin typeface="Arial" panose="020B0604020202020204" pitchFamily="34" charset="0"/>
                <a:ea typeface="Segoe UI Historic" panose="020B0502040204020203" pitchFamily="34" charset="0"/>
                <a:cs typeface="Arial" panose="020B0604020202020204" pitchFamily="34" charset="0"/>
              </a:defRPr>
            </a:lvl1pPr>
            <a:lvl2pPr marL="457200" indent="0">
              <a:buNone/>
              <a:defRPr sz="2800">
                <a:latin typeface="Segoe UI Historic" panose="020B0502040204020203" pitchFamily="34" charset="0"/>
                <a:ea typeface="Segoe UI Historic" panose="020B0502040204020203" pitchFamily="34" charset="0"/>
                <a:cs typeface="Segoe UI Historic" panose="020B0502040204020203" pitchFamily="34" charset="0"/>
              </a:defRPr>
            </a:lvl2pPr>
            <a:lvl3pPr marL="914400" indent="0">
              <a:buNone/>
              <a:defRPr sz="2400">
                <a:latin typeface="Segoe UI Historic" panose="020B0502040204020203" pitchFamily="34" charset="0"/>
                <a:ea typeface="Segoe UI Historic" panose="020B0502040204020203" pitchFamily="34" charset="0"/>
                <a:cs typeface="Segoe UI Historic" panose="020B0502040204020203" pitchFamily="34" charset="0"/>
              </a:defRPr>
            </a:lvl3pPr>
            <a:lvl4pPr marL="1371600" indent="0">
              <a:buNone/>
              <a:defRPr sz="2000">
                <a:latin typeface="Segoe UI Historic" panose="020B0502040204020203" pitchFamily="34" charset="0"/>
                <a:ea typeface="Segoe UI Historic" panose="020B0502040204020203" pitchFamily="34" charset="0"/>
                <a:cs typeface="Segoe UI Historic" panose="020B0502040204020203" pitchFamily="34" charset="0"/>
              </a:defRPr>
            </a:lvl4pPr>
            <a:lvl5pPr marL="1828800" indent="0">
              <a:buNone/>
              <a:defRPr sz="2000">
                <a:latin typeface="Segoe UI Historic" panose="020B0502040204020203" pitchFamily="34" charset="0"/>
                <a:ea typeface="Segoe UI Historic" panose="020B0502040204020203" pitchFamily="34" charset="0"/>
                <a:cs typeface="Segoe UI Historic" panose="020B0502040204020203" pitchFamily="34" charset="0"/>
              </a:defRPr>
            </a:lvl5pPr>
          </a:lstStyle>
          <a:p>
            <a:pPr lvl="0"/>
            <a:r>
              <a:rPr lang="en-US"/>
              <a:t>Click to edit Master text styles</a:t>
            </a:r>
          </a:p>
        </p:txBody>
      </p:sp>
    </p:spTree>
    <p:extLst>
      <p:ext uri="{BB962C8B-B14F-4D97-AF65-F5344CB8AC3E}">
        <p14:creationId xmlns:p14="http://schemas.microsoft.com/office/powerpoint/2010/main" val="2765971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lide - Header Only #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2AA9203-8B1A-7B4F-9B58-474CE26F7385}"/>
              </a:ext>
            </a:extLst>
          </p:cNvPr>
          <p:cNvSpPr>
            <a:spLocks noGrp="1"/>
          </p:cNvSpPr>
          <p:nvPr>
            <p:ph type="ftr" sz="quarter" idx="12"/>
          </p:nvPr>
        </p:nvSpPr>
        <p:spPr/>
        <p:txBody>
          <a:bodyPr/>
          <a:lstStyle/>
          <a:p>
            <a:endParaRPr lang="en-US"/>
          </a:p>
        </p:txBody>
      </p:sp>
      <p:sp>
        <p:nvSpPr>
          <p:cNvPr id="21" name="Title 20">
            <a:extLst>
              <a:ext uri="{FF2B5EF4-FFF2-40B4-BE49-F238E27FC236}">
                <a16:creationId xmlns:a16="http://schemas.microsoft.com/office/drawing/2014/main" id="{3B3C6163-9A98-6B41-B176-5647E0464D6E}"/>
              </a:ext>
            </a:extLst>
          </p:cNvPr>
          <p:cNvSpPr>
            <a:spLocks noGrp="1"/>
          </p:cNvSpPr>
          <p:nvPr>
            <p:ph type="title"/>
          </p:nvPr>
        </p:nvSpPr>
        <p:spPr>
          <a:xfrm>
            <a:off x="421532" y="295156"/>
            <a:ext cx="11324083" cy="897038"/>
          </a:xfrm>
        </p:spPr>
        <p:txBody>
          <a:bodyPr/>
          <a:lstStyle/>
          <a:p>
            <a:r>
              <a:rPr lang="en-US"/>
              <a:t>Click to edit Master title style</a:t>
            </a:r>
          </a:p>
        </p:txBody>
      </p:sp>
      <p:cxnSp>
        <p:nvCxnSpPr>
          <p:cNvPr id="9" name="Straight Connector 8">
            <a:extLst>
              <a:ext uri="{FF2B5EF4-FFF2-40B4-BE49-F238E27FC236}">
                <a16:creationId xmlns:a16="http://schemas.microsoft.com/office/drawing/2014/main" id="{04633F70-7C22-0942-A94E-F9EB1116B573}"/>
              </a:ext>
            </a:extLst>
          </p:cNvPr>
          <p:cNvCxnSpPr>
            <a:cxnSpLocks/>
          </p:cNvCxnSpPr>
          <p:nvPr userDrawn="1"/>
        </p:nvCxnSpPr>
        <p:spPr>
          <a:xfrm>
            <a:off x="515073" y="1249680"/>
            <a:ext cx="11676927" cy="0"/>
          </a:xfrm>
          <a:prstGeom prst="line">
            <a:avLst/>
          </a:prstGeom>
          <a:ln w="50800" cap="flat" cmpd="sng">
            <a:solidFill>
              <a:srgbClr val="649A3D"/>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0388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image" Target="../media/image1.emf"/><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oleObject" Target="../embeddings/oleObject2.bin"/><Relationship Id="rId2" Type="http://schemas.openxmlformats.org/officeDocument/2006/relationships/slideLayout" Target="../slideLayouts/slideLayout33.xml"/><Relationship Id="rId16" Type="http://schemas.openxmlformats.org/officeDocument/2006/relationships/tags" Target="../tags/tag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theme" Target="../theme/theme2.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image" Target="../media/image1.emf"/><Relationship Id="rId2" Type="http://schemas.openxmlformats.org/officeDocument/2006/relationships/slideLayout" Target="../slideLayouts/slideLayout47.xml"/><Relationship Id="rId16" Type="http://schemas.openxmlformats.org/officeDocument/2006/relationships/oleObject" Target="../embeddings/oleObject3.bin"/><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tags" Target="../tags/tag4.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4.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F82018A-6E3C-4F06-A187-EF75452D8591}"/>
              </a:ext>
            </a:extLst>
          </p:cNvPr>
          <p:cNvGraphicFramePr>
            <a:graphicFrameLocks noChangeAspect="1"/>
          </p:cNvGraphicFramePr>
          <p:nvPr userDrawn="1">
            <p:custDataLst>
              <p:tags r:id="rId33"/>
            </p:custDataLst>
            <p:extLst>
              <p:ext uri="{D42A27DB-BD31-4B8C-83A1-F6EECF244321}">
                <p14:modId xmlns:p14="http://schemas.microsoft.com/office/powerpoint/2010/main" val="3106023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473" imgH="473" progId="TCLayout.ActiveDocument.1">
                  <p:embed/>
                </p:oleObj>
              </mc:Choice>
              <mc:Fallback>
                <p:oleObj name="think-cell Slide" r:id="rId34" imgW="473" imgH="473" progId="TCLayout.ActiveDocument.1">
                  <p:embed/>
                  <p:pic>
                    <p:nvPicPr>
                      <p:cNvPr id="3" name="Object 2" hidden="1">
                        <a:extLst>
                          <a:ext uri="{FF2B5EF4-FFF2-40B4-BE49-F238E27FC236}">
                            <a16:creationId xmlns:a16="http://schemas.microsoft.com/office/drawing/2014/main" id="{BF82018A-6E3C-4F06-A187-EF75452D8591}"/>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51EDBB4C-F694-3F4F-AB2A-95BC248322D6}"/>
              </a:ext>
            </a:extLst>
          </p:cNvPr>
          <p:cNvSpPr/>
          <p:nvPr userDrawn="1"/>
        </p:nvSpPr>
        <p:spPr>
          <a:xfrm>
            <a:off x="0" y="6513374"/>
            <a:ext cx="12192000" cy="346358"/>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13" name="Picture 12">
            <a:extLst>
              <a:ext uri="{FF2B5EF4-FFF2-40B4-BE49-F238E27FC236}">
                <a16:creationId xmlns:a16="http://schemas.microsoft.com/office/drawing/2014/main" id="{CB559079-70E2-984E-8D98-A17F73D680A2}"/>
              </a:ext>
            </a:extLst>
          </p:cNvPr>
          <p:cNvPicPr>
            <a:picLocks noChangeAspect="1"/>
          </p:cNvPicPr>
          <p:nvPr userDrawn="1"/>
        </p:nvPicPr>
        <p:blipFill>
          <a:blip r:embed="rId36">
            <a:extLst>
              <a:ext uri="{28A0092B-C50C-407E-A947-70E740481C1C}">
                <a14:useLocalDpi xmlns:a14="http://schemas.microsoft.com/office/drawing/2010/main"/>
              </a:ext>
            </a:extLst>
          </a:blip>
          <a:stretch>
            <a:fillRect/>
          </a:stretch>
        </p:blipFill>
        <p:spPr>
          <a:xfrm>
            <a:off x="121026" y="6567319"/>
            <a:ext cx="241634" cy="241634"/>
          </a:xfrm>
          <a:prstGeom prst="rect">
            <a:avLst/>
          </a:prstGeom>
        </p:spPr>
      </p:pic>
      <p:sp>
        <p:nvSpPr>
          <p:cNvPr id="11" name="TextBox 11">
            <a:extLst>
              <a:ext uri="{FF2B5EF4-FFF2-40B4-BE49-F238E27FC236}">
                <a16:creationId xmlns:a16="http://schemas.microsoft.com/office/drawing/2014/main" id="{FA1C31AC-A4DC-1B42-9C25-746C84DB5ADE}"/>
              </a:ext>
            </a:extLst>
          </p:cNvPr>
          <p:cNvSpPr txBox="1">
            <a:spLocks noChangeArrowheads="1"/>
          </p:cNvSpPr>
          <p:nvPr userDrawn="1"/>
        </p:nvSpPr>
        <p:spPr bwMode="auto">
          <a:xfrm>
            <a:off x="11105056" y="6584250"/>
            <a:ext cx="96853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r>
              <a:rPr lang="en-US" altLang="en-US" sz="700">
                <a:solidFill>
                  <a:schemeClr val="tx2"/>
                </a:solidFill>
                <a:latin typeface="Arial" panose="020B0604020202020204" pitchFamily="34" charset="0"/>
                <a:ea typeface="Segoe UI Historic" panose="020B0502040204020203" pitchFamily="34" charset="0"/>
                <a:cs typeface="Arial" panose="020B0604020202020204" pitchFamily="34" charset="0"/>
              </a:rPr>
              <a:t>|    © Digital.ai.2022</a:t>
            </a:r>
          </a:p>
        </p:txBody>
      </p:sp>
      <p:sp>
        <p:nvSpPr>
          <p:cNvPr id="14" name="Title Placeholder 13">
            <a:extLst>
              <a:ext uri="{FF2B5EF4-FFF2-40B4-BE49-F238E27FC236}">
                <a16:creationId xmlns:a16="http://schemas.microsoft.com/office/drawing/2014/main" id="{0932C533-1E9A-574D-A646-935353C7EBDB}"/>
              </a:ext>
            </a:extLst>
          </p:cNvPr>
          <p:cNvSpPr>
            <a:spLocks noGrp="1"/>
          </p:cNvSpPr>
          <p:nvPr>
            <p:ph type="title"/>
          </p:nvPr>
        </p:nvSpPr>
        <p:spPr>
          <a:xfrm>
            <a:off x="421532" y="295156"/>
            <a:ext cx="11324083" cy="897038"/>
          </a:xfrm>
          <a:prstGeom prst="rect">
            <a:avLst/>
          </a:prstGeom>
        </p:spPr>
        <p:txBody>
          <a:bodyPr vert="horz" lIns="91440" tIns="45720" rIns="91440" bIns="45720" rtlCol="0" anchor="b" anchorCtr="0">
            <a:noAutofit/>
          </a:bodyPr>
          <a:lstStyle/>
          <a:p>
            <a:r>
              <a:rPr lang="en-US"/>
              <a:t>Click to edit Master title style</a:t>
            </a:r>
          </a:p>
        </p:txBody>
      </p:sp>
      <p:sp>
        <p:nvSpPr>
          <p:cNvPr id="15" name="Footer Placeholder 14">
            <a:extLst>
              <a:ext uri="{FF2B5EF4-FFF2-40B4-BE49-F238E27FC236}">
                <a16:creationId xmlns:a16="http://schemas.microsoft.com/office/drawing/2014/main" id="{43EC6DA6-5340-2C41-9EB6-5B6A9D8494B9}"/>
              </a:ext>
            </a:extLst>
          </p:cNvPr>
          <p:cNvSpPr>
            <a:spLocks noGrp="1"/>
          </p:cNvSpPr>
          <p:nvPr>
            <p:ph type="ftr" sz="quarter" idx="3"/>
          </p:nvPr>
        </p:nvSpPr>
        <p:spPr>
          <a:xfrm>
            <a:off x="421532" y="6528855"/>
            <a:ext cx="3741506" cy="365125"/>
          </a:xfrm>
          <a:prstGeom prst="rect">
            <a:avLst/>
          </a:prstGeom>
        </p:spPr>
        <p:txBody>
          <a:bodyPr vert="horz" lIns="91440" tIns="45720" rIns="91440" bIns="45720" rtlCol="0" anchor="ctr"/>
          <a:lstStyle>
            <a:lvl1pPr algn="l">
              <a:defRPr sz="700">
                <a:solidFill>
                  <a:schemeClr val="tx2"/>
                </a:solidFill>
                <a:latin typeface="Arial" panose="020B0604020202020204" pitchFamily="34" charset="0"/>
                <a:ea typeface="Segoe UI Historic" panose="020B0502040204020203" pitchFamily="34" charset="0"/>
                <a:cs typeface="Arial" panose="020B0604020202020204" pitchFamily="34" charset="0"/>
              </a:defRPr>
            </a:lvl1pPr>
          </a:lstStyle>
          <a:p>
            <a:endParaRPr lang="en-US"/>
          </a:p>
        </p:txBody>
      </p:sp>
      <p:sp>
        <p:nvSpPr>
          <p:cNvPr id="6" name="Text Placeholder 5">
            <a:extLst>
              <a:ext uri="{FF2B5EF4-FFF2-40B4-BE49-F238E27FC236}">
                <a16:creationId xmlns:a16="http://schemas.microsoft.com/office/drawing/2014/main" id="{D807C30D-2854-9744-9553-0B093EA2F390}"/>
              </a:ext>
            </a:extLst>
          </p:cNvPr>
          <p:cNvSpPr>
            <a:spLocks noGrp="1"/>
          </p:cNvSpPr>
          <p:nvPr>
            <p:ph type="body" idx="1"/>
          </p:nvPr>
        </p:nvSpPr>
        <p:spPr>
          <a:xfrm>
            <a:off x="415991" y="1451151"/>
            <a:ext cx="11329624" cy="4754969"/>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11">
            <a:extLst>
              <a:ext uri="{FF2B5EF4-FFF2-40B4-BE49-F238E27FC236}">
                <a16:creationId xmlns:a16="http://schemas.microsoft.com/office/drawing/2014/main" id="{D5B6A621-9D83-B547-B53F-57A26BCEDA45}"/>
              </a:ext>
            </a:extLst>
          </p:cNvPr>
          <p:cNvSpPr txBox="1">
            <a:spLocks/>
          </p:cNvSpPr>
          <p:nvPr userDrawn="1"/>
        </p:nvSpPr>
        <p:spPr>
          <a:xfrm>
            <a:off x="10725520" y="6505259"/>
            <a:ext cx="457200" cy="365125"/>
          </a:xfrm>
          <a:prstGeom prst="rect">
            <a:avLst/>
          </a:prstGeom>
        </p:spPr>
        <p:txBody>
          <a:bodyPr vert="horz" wrap="none" lIns="91440" tIns="45720" rIns="91440" bIns="45720" rtlCol="0" anchor="ctr"/>
          <a:lstStyle>
            <a:defPPr>
              <a:defRPr lang="en-US"/>
            </a:defPPr>
            <a:lvl1pPr marL="0" algn="r" defTabSz="914400" rtl="0" eaLnBrk="1" latinLnBrk="0" hangingPunct="1">
              <a:defRPr sz="1100" b="0" i="1" kern="1200">
                <a:solidFill>
                  <a:srgbClr val="F3911C"/>
                </a:solidFill>
                <a:latin typeface="Trebuchet MS" pitchFamily="34" charset="0"/>
                <a:ea typeface="+mn-ea"/>
                <a:cs typeface="Trebuchet MS"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B5912E-F850-4CB8-B4D6-743C6E65143D}" type="slidenum">
              <a:rPr lang="en-US" sz="700" i="0" smtClean="0">
                <a:solidFill>
                  <a:schemeClr val="tx2"/>
                </a:solidFill>
                <a:latin typeface="+mn-lt"/>
              </a:rPr>
              <a:pPr/>
              <a:t>‹#›</a:t>
            </a:fld>
            <a:endParaRPr lang="en-US" sz="700" i="0">
              <a:solidFill>
                <a:schemeClr val="tx2"/>
              </a:solidFill>
              <a:latin typeface="+mn-lt"/>
            </a:endParaRPr>
          </a:p>
        </p:txBody>
      </p:sp>
    </p:spTree>
    <p:extLst>
      <p:ext uri="{BB962C8B-B14F-4D97-AF65-F5344CB8AC3E}">
        <p14:creationId xmlns:p14="http://schemas.microsoft.com/office/powerpoint/2010/main" val="105772525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9" r:id="rId28"/>
    <p:sldLayoutId id="2147483692" r:id="rId29"/>
    <p:sldLayoutId id="2147483724" r:id="rId30"/>
    <p:sldLayoutId id="2147483739" r:id="rId3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rtl="0" eaLnBrk="1" fontAlgn="base" hangingPunct="1">
        <a:lnSpc>
          <a:spcPct val="90000"/>
        </a:lnSpc>
        <a:spcBef>
          <a:spcPct val="0"/>
        </a:spcBef>
        <a:spcAft>
          <a:spcPct val="0"/>
        </a:spcAft>
        <a:defRPr sz="2800" b="1" i="0" kern="1200">
          <a:solidFill>
            <a:schemeClr val="tx1"/>
          </a:solidFill>
          <a:latin typeface="Arial" panose="020B0604020202020204" pitchFamily="34" charset="0"/>
          <a:ea typeface="Segoe UI Historic" panose="020B0502040204020203" pitchFamily="34" charset="0"/>
          <a:cs typeface="Arial" panose="020B0604020202020204" pitchFamily="34" charset="0"/>
        </a:defRPr>
      </a:lvl1pPr>
      <a:lvl2pPr algn="l" rtl="0" eaLnBrk="1" fontAlgn="base" hangingPunct="1">
        <a:lnSpc>
          <a:spcPct val="90000"/>
        </a:lnSpc>
        <a:spcBef>
          <a:spcPct val="0"/>
        </a:spcBef>
        <a:spcAft>
          <a:spcPct val="0"/>
        </a:spcAft>
        <a:defRPr sz="3200" b="1">
          <a:solidFill>
            <a:schemeClr val="tx1"/>
          </a:solidFill>
          <a:latin typeface="Corbel" panose="020B0503020204020204" pitchFamily="34" charset="0"/>
          <a:cs typeface="Tahoma" panose="020B0604030504040204" pitchFamily="34" charset="0"/>
        </a:defRPr>
      </a:lvl2pPr>
      <a:lvl3pPr algn="l" rtl="0" eaLnBrk="1" fontAlgn="base" hangingPunct="1">
        <a:lnSpc>
          <a:spcPct val="90000"/>
        </a:lnSpc>
        <a:spcBef>
          <a:spcPct val="0"/>
        </a:spcBef>
        <a:spcAft>
          <a:spcPct val="0"/>
        </a:spcAft>
        <a:defRPr sz="3200" b="1">
          <a:solidFill>
            <a:schemeClr val="tx1"/>
          </a:solidFill>
          <a:latin typeface="Corbel" panose="020B0503020204020204" pitchFamily="34" charset="0"/>
          <a:cs typeface="Tahoma" panose="020B0604030504040204" pitchFamily="34" charset="0"/>
        </a:defRPr>
      </a:lvl3pPr>
      <a:lvl4pPr algn="l" rtl="0" eaLnBrk="1" fontAlgn="base" hangingPunct="1">
        <a:lnSpc>
          <a:spcPct val="90000"/>
        </a:lnSpc>
        <a:spcBef>
          <a:spcPct val="0"/>
        </a:spcBef>
        <a:spcAft>
          <a:spcPct val="0"/>
        </a:spcAft>
        <a:defRPr sz="3200" b="1">
          <a:solidFill>
            <a:schemeClr val="tx1"/>
          </a:solidFill>
          <a:latin typeface="Corbel" panose="020B0503020204020204" pitchFamily="34" charset="0"/>
          <a:cs typeface="Tahoma" panose="020B0604030504040204" pitchFamily="34" charset="0"/>
        </a:defRPr>
      </a:lvl4pPr>
      <a:lvl5pPr algn="l" rtl="0" eaLnBrk="1" fontAlgn="base" hangingPunct="1">
        <a:lnSpc>
          <a:spcPct val="90000"/>
        </a:lnSpc>
        <a:spcBef>
          <a:spcPct val="0"/>
        </a:spcBef>
        <a:spcAft>
          <a:spcPct val="0"/>
        </a:spcAft>
        <a:defRPr sz="3200" b="1">
          <a:solidFill>
            <a:schemeClr val="tx1"/>
          </a:solidFill>
          <a:latin typeface="Corbel" panose="020B0503020204020204" pitchFamily="34" charset="0"/>
          <a:cs typeface="Tahoma" panose="020B0604030504040204" pitchFamily="34" charset="0"/>
        </a:defRPr>
      </a:lvl5pPr>
      <a:lvl6pPr marL="457200" algn="l" rtl="0" eaLnBrk="1" fontAlgn="base" hangingPunct="1">
        <a:lnSpc>
          <a:spcPct val="90000"/>
        </a:lnSpc>
        <a:spcBef>
          <a:spcPct val="0"/>
        </a:spcBef>
        <a:spcAft>
          <a:spcPct val="0"/>
        </a:spcAft>
        <a:defRPr sz="3200" b="1">
          <a:solidFill>
            <a:schemeClr val="tx1"/>
          </a:solidFill>
          <a:latin typeface="Corbel" panose="020B0503020204020204" pitchFamily="34" charset="0"/>
          <a:cs typeface="Tahoma" panose="020B0604030504040204" pitchFamily="34" charset="0"/>
        </a:defRPr>
      </a:lvl6pPr>
      <a:lvl7pPr marL="914400" algn="l" rtl="0" eaLnBrk="1" fontAlgn="base" hangingPunct="1">
        <a:lnSpc>
          <a:spcPct val="90000"/>
        </a:lnSpc>
        <a:spcBef>
          <a:spcPct val="0"/>
        </a:spcBef>
        <a:spcAft>
          <a:spcPct val="0"/>
        </a:spcAft>
        <a:defRPr sz="3200" b="1">
          <a:solidFill>
            <a:schemeClr val="tx1"/>
          </a:solidFill>
          <a:latin typeface="Corbel" panose="020B0503020204020204" pitchFamily="34" charset="0"/>
          <a:cs typeface="Tahoma" panose="020B0604030504040204" pitchFamily="34" charset="0"/>
        </a:defRPr>
      </a:lvl7pPr>
      <a:lvl8pPr marL="1371600" algn="l" rtl="0" eaLnBrk="1" fontAlgn="base" hangingPunct="1">
        <a:lnSpc>
          <a:spcPct val="90000"/>
        </a:lnSpc>
        <a:spcBef>
          <a:spcPct val="0"/>
        </a:spcBef>
        <a:spcAft>
          <a:spcPct val="0"/>
        </a:spcAft>
        <a:defRPr sz="3200" b="1">
          <a:solidFill>
            <a:schemeClr val="tx1"/>
          </a:solidFill>
          <a:latin typeface="Corbel" panose="020B0503020204020204" pitchFamily="34" charset="0"/>
          <a:cs typeface="Tahoma" panose="020B0604030504040204" pitchFamily="34" charset="0"/>
        </a:defRPr>
      </a:lvl8pPr>
      <a:lvl9pPr marL="1828800" algn="l" rtl="0" eaLnBrk="1" fontAlgn="base" hangingPunct="1">
        <a:lnSpc>
          <a:spcPct val="90000"/>
        </a:lnSpc>
        <a:spcBef>
          <a:spcPct val="0"/>
        </a:spcBef>
        <a:spcAft>
          <a:spcPct val="0"/>
        </a:spcAft>
        <a:defRPr sz="3200" b="1">
          <a:solidFill>
            <a:schemeClr val="tx1"/>
          </a:solidFill>
          <a:latin typeface="Corbel" panose="020B0503020204020204" pitchFamily="34" charset="0"/>
          <a:cs typeface="Tahoma" panose="020B0604030504040204" pitchFamily="34" charset="0"/>
        </a:defRPr>
      </a:lvl9pPr>
    </p:titleStyle>
    <p:bodyStyle>
      <a:lvl1pPr marL="344488" indent="-168275" algn="l" rtl="0" eaLnBrk="1" fontAlgn="base" hangingPunct="1">
        <a:spcBef>
          <a:spcPts val="300"/>
        </a:spcBef>
        <a:spcAft>
          <a:spcPts val="1200"/>
        </a:spcAft>
        <a:buClr>
          <a:srgbClr val="649A3D"/>
        </a:buClr>
        <a:buFont typeface="Arial" panose="020B0604020202020204" pitchFamily="34" charset="0"/>
        <a:buChar char="•"/>
        <a:tabLst/>
        <a:defRPr sz="1800" kern="1200">
          <a:solidFill>
            <a:srgbClr val="555555"/>
          </a:solidFill>
          <a:latin typeface="Arial" panose="020B0604020202020204" pitchFamily="34" charset="0"/>
          <a:ea typeface="+mn-ea"/>
          <a:cs typeface="Arial" panose="020B0604020202020204" pitchFamily="34" charset="0"/>
        </a:defRPr>
      </a:lvl1pPr>
      <a:lvl2pPr marL="630238" indent="-168275" algn="l" rtl="0" eaLnBrk="1" fontAlgn="base" hangingPunct="1">
        <a:spcBef>
          <a:spcPts val="300"/>
        </a:spcBef>
        <a:spcAft>
          <a:spcPts val="1200"/>
        </a:spcAft>
        <a:buClr>
          <a:schemeClr val="tx1"/>
        </a:buClr>
        <a:buFont typeface="Arial" panose="020B0604020202020204" pitchFamily="34" charset="0"/>
        <a:buChar char="•"/>
        <a:tabLst/>
        <a:defRPr sz="1600" kern="1200">
          <a:solidFill>
            <a:srgbClr val="555555"/>
          </a:solidFill>
          <a:latin typeface="Arial" panose="020B0604020202020204" pitchFamily="34" charset="0"/>
          <a:ea typeface="+mn-ea"/>
          <a:cs typeface="Arial" panose="020B0604020202020204" pitchFamily="34" charset="0"/>
        </a:defRPr>
      </a:lvl2pPr>
      <a:lvl3pPr marL="915988" indent="-176213" algn="l" rtl="0" eaLnBrk="1" fontAlgn="base" hangingPunct="1">
        <a:spcBef>
          <a:spcPts val="300"/>
        </a:spcBef>
        <a:spcAft>
          <a:spcPts val="1200"/>
        </a:spcAft>
        <a:buClr>
          <a:srgbClr val="7F7F7F"/>
        </a:buClr>
        <a:buFont typeface="Arial" panose="020B0604020202020204" pitchFamily="34" charset="0"/>
        <a:buChar char="•"/>
        <a:tabLst/>
        <a:defRPr sz="1400" kern="1200">
          <a:solidFill>
            <a:srgbClr val="555555"/>
          </a:solidFill>
          <a:latin typeface="Arial" panose="020B0604020202020204" pitchFamily="34" charset="0"/>
          <a:ea typeface="+mn-ea"/>
          <a:cs typeface="Arial" panose="020B0604020202020204" pitchFamily="34" charset="0"/>
        </a:defRPr>
      </a:lvl3pPr>
      <a:lvl4pPr marL="1143000" indent="-176213" algn="l" rtl="0" eaLnBrk="1" fontAlgn="base" hangingPunct="1">
        <a:lnSpc>
          <a:spcPct val="90000"/>
        </a:lnSpc>
        <a:spcBef>
          <a:spcPts val="300"/>
        </a:spcBef>
        <a:spcAft>
          <a:spcPts val="900"/>
        </a:spcAft>
        <a:buClr>
          <a:srgbClr val="AAAAAA"/>
        </a:buClr>
        <a:buFont typeface="Arial" panose="020B0604020202020204" pitchFamily="34" charset="0"/>
        <a:buChar char="•"/>
        <a:tabLst/>
        <a:defRPr sz="1400" kern="1200">
          <a:solidFill>
            <a:srgbClr val="555555"/>
          </a:solidFill>
          <a:latin typeface="Arial" panose="020B0604020202020204" pitchFamily="34" charset="0"/>
          <a:ea typeface="+mn-ea"/>
          <a:cs typeface="Arial" panose="020B0604020202020204" pitchFamily="34" charset="0"/>
        </a:defRPr>
      </a:lvl4pPr>
      <a:lvl5pPr marL="1377950" indent="-168275" algn="l" rtl="0" eaLnBrk="1" fontAlgn="base" hangingPunct="1">
        <a:lnSpc>
          <a:spcPct val="90000"/>
        </a:lnSpc>
        <a:spcBef>
          <a:spcPts val="300"/>
        </a:spcBef>
        <a:spcAft>
          <a:spcPts val="600"/>
        </a:spcAft>
        <a:buClr>
          <a:srgbClr val="D4D4D4"/>
        </a:buClr>
        <a:buFont typeface="Arial" panose="020B0604020202020204" pitchFamily="34" charset="0"/>
        <a:buChar char="•"/>
        <a:tabLst/>
        <a:defRPr sz="1400" kern="1200">
          <a:solidFill>
            <a:srgbClr val="5555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42D1F5D-AD38-4F30-A31D-908F0AAB0CFB}"/>
              </a:ext>
            </a:extLst>
          </p:cNvPr>
          <p:cNvGraphicFramePr>
            <a:graphicFrameLocks noChangeAspect="1"/>
          </p:cNvGraphicFramePr>
          <p:nvPr userDrawn="1">
            <p:custDataLst>
              <p:tags r:id="rId16"/>
            </p:custDataLst>
            <p:extLst>
              <p:ext uri="{D42A27DB-BD31-4B8C-83A1-F6EECF244321}">
                <p14:modId xmlns:p14="http://schemas.microsoft.com/office/powerpoint/2010/main" val="2626154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73" imgH="473" progId="TCLayout.ActiveDocument.1">
                  <p:embed/>
                </p:oleObj>
              </mc:Choice>
              <mc:Fallback>
                <p:oleObj name="think-cell Slide" r:id="rId17" imgW="473" imgH="473" progId="TCLayout.ActiveDocument.1">
                  <p:embed/>
                  <p:pic>
                    <p:nvPicPr>
                      <p:cNvPr id="5" name="Object 4" hidden="1">
                        <a:extLst>
                          <a:ext uri="{FF2B5EF4-FFF2-40B4-BE49-F238E27FC236}">
                            <a16:creationId xmlns:a16="http://schemas.microsoft.com/office/drawing/2014/main" id="{042D1F5D-AD38-4F30-A31D-908F0AAB0CF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5375851"/>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Lst>
  <p:txStyles>
    <p:titleStyle>
      <a:lvl1pPr algn="l" defTabSz="914363" rtl="0" eaLnBrk="1" latinLnBrk="0" hangingPunct="1">
        <a:lnSpc>
          <a:spcPct val="90000"/>
        </a:lnSpc>
        <a:spcBef>
          <a:spcPct val="0"/>
        </a:spcBef>
        <a:buNone/>
        <a:defRPr sz="2667" b="1" kern="1200">
          <a:solidFill>
            <a:schemeClr val="tx1"/>
          </a:solidFill>
          <a:latin typeface="+mn-lt"/>
          <a:ea typeface="+mj-ea"/>
          <a:cs typeface="+mj-cs"/>
        </a:defRPr>
      </a:lvl1pPr>
    </p:titleStyle>
    <p:bodyStyle>
      <a:lvl1pPr marL="0" indent="0" algn="l" defTabSz="914363" rtl="0" eaLnBrk="1" latinLnBrk="0" hangingPunct="1">
        <a:lnSpc>
          <a:spcPct val="90000"/>
        </a:lnSpc>
        <a:spcBef>
          <a:spcPts val="1000"/>
        </a:spcBef>
        <a:buFont typeface="Arial" panose="020B0604020202020204" pitchFamily="34" charset="0"/>
        <a:buNone/>
        <a:defRPr sz="1833" b="0" kern="1200">
          <a:solidFill>
            <a:srgbClr val="2E3D49"/>
          </a:solidFill>
          <a:latin typeface="+mn-lt"/>
          <a:ea typeface="+mn-ea"/>
          <a:cs typeface="+mn-cs"/>
        </a:defRPr>
      </a:lvl1pPr>
      <a:lvl2pPr marL="238115" indent="-238115" algn="l" defTabSz="914363" rtl="0" eaLnBrk="1" latinLnBrk="0" hangingPunct="1">
        <a:lnSpc>
          <a:spcPct val="90000"/>
        </a:lnSpc>
        <a:spcBef>
          <a:spcPts val="500"/>
        </a:spcBef>
        <a:buClr>
          <a:srgbClr val="02B3E4"/>
        </a:buClr>
        <a:buFont typeface="Arial" panose="020B0604020202020204" pitchFamily="34" charset="0"/>
        <a:buChar char="•"/>
        <a:defRPr sz="1833" kern="1200">
          <a:solidFill>
            <a:srgbClr val="2E3D49"/>
          </a:solidFill>
          <a:latin typeface="+mn-lt"/>
          <a:ea typeface="+mn-ea"/>
          <a:cs typeface="+mn-cs"/>
        </a:defRPr>
      </a:lvl2pPr>
      <a:lvl3pPr marL="525177" indent="-238115" algn="l" defTabSz="914363" rtl="0" eaLnBrk="1" latinLnBrk="0" hangingPunct="1">
        <a:lnSpc>
          <a:spcPct val="90000"/>
        </a:lnSpc>
        <a:spcBef>
          <a:spcPts val="500"/>
        </a:spcBef>
        <a:buClr>
          <a:srgbClr val="02B3E4"/>
        </a:buClr>
        <a:buSzPct val="80000"/>
        <a:buFont typeface="Courier New" panose="02070309020205020404" pitchFamily="49" charset="0"/>
        <a:buChar char="o"/>
        <a:defRPr sz="1833" b="0" kern="1200">
          <a:solidFill>
            <a:srgbClr val="2E3D49"/>
          </a:solidFill>
          <a:latin typeface="+mn-lt"/>
          <a:ea typeface="+mn-ea"/>
          <a:cs typeface="+mn-cs"/>
        </a:defRPr>
      </a:lvl3pPr>
      <a:lvl4pPr marL="761970" indent="-227533" algn="l" defTabSz="914363" rtl="0" eaLnBrk="1" latinLnBrk="0" hangingPunct="1">
        <a:lnSpc>
          <a:spcPct val="90000"/>
        </a:lnSpc>
        <a:spcBef>
          <a:spcPts val="500"/>
        </a:spcBef>
        <a:buClr>
          <a:srgbClr val="55565A"/>
        </a:buClr>
        <a:buFont typeface="Arial" panose="020B0604020202020204" pitchFamily="34" charset="0"/>
        <a:buChar char="•"/>
        <a:defRPr sz="1500" kern="1200">
          <a:solidFill>
            <a:srgbClr val="2E3D49"/>
          </a:solidFill>
          <a:latin typeface="+mn-lt"/>
          <a:ea typeface="+mn-ea"/>
          <a:cs typeface="+mn-cs"/>
        </a:defRPr>
      </a:lvl4pPr>
      <a:lvl5pPr marL="1004054" indent="-227533" algn="l" defTabSz="914363" rtl="0" eaLnBrk="1" latinLnBrk="0" hangingPunct="1">
        <a:lnSpc>
          <a:spcPct val="90000"/>
        </a:lnSpc>
        <a:spcBef>
          <a:spcPts val="500"/>
        </a:spcBef>
        <a:buClr>
          <a:srgbClr val="55565A"/>
        </a:buClr>
        <a:buSzPct val="80000"/>
        <a:buFont typeface="Arial" panose="020B0604020202020204" pitchFamily="34" charset="0"/>
        <a:buChar char="─"/>
        <a:defRPr sz="1500" kern="1200" baseline="0">
          <a:solidFill>
            <a:srgbClr val="2E3D49"/>
          </a:solidFill>
          <a:latin typeface="+mn-lt"/>
          <a:ea typeface="+mn-ea"/>
          <a:cs typeface="+mn-cs"/>
        </a:defRPr>
      </a:lvl5pPr>
      <a:lvl6pPr marL="1050354" indent="-195784" algn="l" defTabSz="914363" rtl="0" eaLnBrk="1" latinLnBrk="0" hangingPunct="1">
        <a:lnSpc>
          <a:spcPct val="90000"/>
        </a:lnSpc>
        <a:spcBef>
          <a:spcPts val="500"/>
        </a:spcBef>
        <a:buFont typeface="Arial" panose="020B0604020202020204" pitchFamily="34" charset="0"/>
        <a:buChar char="•"/>
        <a:tabLst/>
        <a:defRPr sz="1167"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FD63310-B75C-4CBC-BF8B-218E07AC7F94}"/>
              </a:ext>
            </a:extLst>
          </p:cNvPr>
          <p:cNvGraphicFramePr>
            <a:graphicFrameLocks noChangeAspect="1"/>
          </p:cNvGraphicFramePr>
          <p:nvPr userDrawn="1">
            <p:custDataLst>
              <p:tags r:id="rId15"/>
            </p:custDataLst>
            <p:extLst>
              <p:ext uri="{D42A27DB-BD31-4B8C-83A1-F6EECF244321}">
                <p14:modId xmlns:p14="http://schemas.microsoft.com/office/powerpoint/2010/main" val="4178920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73" imgH="473" progId="TCLayout.ActiveDocument.1">
                  <p:embed/>
                </p:oleObj>
              </mc:Choice>
              <mc:Fallback>
                <p:oleObj name="think-cell Slide" r:id="rId16" imgW="473" imgH="473" progId="TCLayout.ActiveDocument.1">
                  <p:embed/>
                  <p:pic>
                    <p:nvPicPr>
                      <p:cNvPr id="5" name="Object 4" hidden="1">
                        <a:extLst>
                          <a:ext uri="{FF2B5EF4-FFF2-40B4-BE49-F238E27FC236}">
                            <a16:creationId xmlns:a16="http://schemas.microsoft.com/office/drawing/2014/main" id="{9FD63310-B75C-4CBC-BF8B-218E07AC7F9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5712694"/>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Lst>
  <p:txStyles>
    <p:titleStyle>
      <a:lvl1pPr algn="l" defTabSz="914363" rtl="0" eaLnBrk="1" latinLnBrk="0" hangingPunct="1">
        <a:lnSpc>
          <a:spcPct val="90000"/>
        </a:lnSpc>
        <a:spcBef>
          <a:spcPct val="0"/>
        </a:spcBef>
        <a:buNone/>
        <a:defRPr sz="2667" b="1" kern="1200">
          <a:solidFill>
            <a:schemeClr val="tx1"/>
          </a:solidFill>
          <a:latin typeface="+mn-lt"/>
          <a:ea typeface="+mj-ea"/>
          <a:cs typeface="+mj-cs"/>
        </a:defRPr>
      </a:lvl1pPr>
    </p:titleStyle>
    <p:bodyStyle>
      <a:lvl1pPr marL="0" indent="0" algn="l" defTabSz="914363" rtl="0" eaLnBrk="1" latinLnBrk="0" hangingPunct="1">
        <a:lnSpc>
          <a:spcPct val="90000"/>
        </a:lnSpc>
        <a:spcBef>
          <a:spcPts val="1000"/>
        </a:spcBef>
        <a:buFont typeface="Arial" panose="020B0604020202020204" pitchFamily="34" charset="0"/>
        <a:buNone/>
        <a:defRPr sz="1833" b="0" kern="1200">
          <a:solidFill>
            <a:srgbClr val="2E3D49"/>
          </a:solidFill>
          <a:latin typeface="+mn-lt"/>
          <a:ea typeface="+mn-ea"/>
          <a:cs typeface="+mn-cs"/>
        </a:defRPr>
      </a:lvl1pPr>
      <a:lvl2pPr marL="238115" indent="-238115" algn="l" defTabSz="914363" rtl="0" eaLnBrk="1" latinLnBrk="0" hangingPunct="1">
        <a:lnSpc>
          <a:spcPct val="90000"/>
        </a:lnSpc>
        <a:spcBef>
          <a:spcPts val="500"/>
        </a:spcBef>
        <a:buClr>
          <a:srgbClr val="02B3E4"/>
        </a:buClr>
        <a:buFont typeface="Arial" panose="020B0604020202020204" pitchFamily="34" charset="0"/>
        <a:buChar char="•"/>
        <a:defRPr sz="1833" kern="1200">
          <a:solidFill>
            <a:srgbClr val="2E3D49"/>
          </a:solidFill>
          <a:latin typeface="+mn-lt"/>
          <a:ea typeface="+mn-ea"/>
          <a:cs typeface="+mn-cs"/>
        </a:defRPr>
      </a:lvl2pPr>
      <a:lvl3pPr marL="525177" indent="-238115" algn="l" defTabSz="914363" rtl="0" eaLnBrk="1" latinLnBrk="0" hangingPunct="1">
        <a:lnSpc>
          <a:spcPct val="90000"/>
        </a:lnSpc>
        <a:spcBef>
          <a:spcPts val="500"/>
        </a:spcBef>
        <a:buClr>
          <a:srgbClr val="02B3E4"/>
        </a:buClr>
        <a:buSzPct val="80000"/>
        <a:buFont typeface="Courier New" panose="02070309020205020404" pitchFamily="49" charset="0"/>
        <a:buChar char="o"/>
        <a:defRPr sz="1833" b="0" kern="1200">
          <a:solidFill>
            <a:srgbClr val="2E3D49"/>
          </a:solidFill>
          <a:latin typeface="+mn-lt"/>
          <a:ea typeface="+mn-ea"/>
          <a:cs typeface="+mn-cs"/>
        </a:defRPr>
      </a:lvl3pPr>
      <a:lvl4pPr marL="761970" indent="-227533" algn="l" defTabSz="914363" rtl="0" eaLnBrk="1" latinLnBrk="0" hangingPunct="1">
        <a:lnSpc>
          <a:spcPct val="90000"/>
        </a:lnSpc>
        <a:spcBef>
          <a:spcPts val="500"/>
        </a:spcBef>
        <a:buClr>
          <a:srgbClr val="55565A"/>
        </a:buClr>
        <a:buFont typeface="Arial" panose="020B0604020202020204" pitchFamily="34" charset="0"/>
        <a:buChar char="•"/>
        <a:defRPr sz="1500" kern="1200">
          <a:solidFill>
            <a:srgbClr val="2E3D49"/>
          </a:solidFill>
          <a:latin typeface="+mn-lt"/>
          <a:ea typeface="+mn-ea"/>
          <a:cs typeface="+mn-cs"/>
        </a:defRPr>
      </a:lvl4pPr>
      <a:lvl5pPr marL="1004054" indent="-227533" algn="l" defTabSz="914363" rtl="0" eaLnBrk="1" latinLnBrk="0" hangingPunct="1">
        <a:lnSpc>
          <a:spcPct val="90000"/>
        </a:lnSpc>
        <a:spcBef>
          <a:spcPts val="500"/>
        </a:spcBef>
        <a:buClr>
          <a:srgbClr val="55565A"/>
        </a:buClr>
        <a:buSzPct val="80000"/>
        <a:buFont typeface="Arial" panose="020B0604020202020204" pitchFamily="34" charset="0"/>
        <a:buChar char="─"/>
        <a:defRPr sz="1500" kern="1200" baseline="0">
          <a:solidFill>
            <a:srgbClr val="2E3D49"/>
          </a:solidFill>
          <a:latin typeface="+mn-lt"/>
          <a:ea typeface="+mn-ea"/>
          <a:cs typeface="+mn-cs"/>
        </a:defRPr>
      </a:lvl5pPr>
      <a:lvl6pPr marL="1050354" indent="-195784" algn="l" defTabSz="914363" rtl="0" eaLnBrk="1" latinLnBrk="0" hangingPunct="1">
        <a:lnSpc>
          <a:spcPct val="90000"/>
        </a:lnSpc>
        <a:spcBef>
          <a:spcPts val="500"/>
        </a:spcBef>
        <a:buFont typeface="Arial" panose="020B0604020202020204" pitchFamily="34" charset="0"/>
        <a:buChar char="•"/>
        <a:tabLst/>
        <a:defRPr sz="1167"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Title Placeholder 13">
            <a:extLst>
              <a:ext uri="{FF2B5EF4-FFF2-40B4-BE49-F238E27FC236}">
                <a16:creationId xmlns:a16="http://schemas.microsoft.com/office/drawing/2014/main" id="{0932C533-1E9A-574D-A646-935353C7EBDB}"/>
              </a:ext>
            </a:extLst>
          </p:cNvPr>
          <p:cNvSpPr>
            <a:spLocks noGrp="1"/>
          </p:cNvSpPr>
          <p:nvPr>
            <p:ph type="title"/>
          </p:nvPr>
        </p:nvSpPr>
        <p:spPr>
          <a:xfrm>
            <a:off x="421532" y="295156"/>
            <a:ext cx="11324083" cy="584775"/>
          </a:xfrm>
          <a:prstGeom prst="rect">
            <a:avLst/>
          </a:prstGeom>
          <a:noFill/>
        </p:spPr>
        <p:txBody>
          <a:bodyPr vert="horz" wrap="square" lIns="91440" tIns="45720" rIns="91440" bIns="45720" rtlCol="0" anchor="t" anchorCtr="0">
            <a:spAutoFit/>
          </a:bodyPr>
          <a:lstStyle/>
          <a:p>
            <a:pPr marL="0" lvl="0" defTabSz="914400" latinLnBrk="0">
              <a:lnSpc>
                <a:spcPct val="80000"/>
              </a:lnSpc>
            </a:pPr>
            <a:r>
              <a:rPr lang="en-US"/>
              <a:t>CLICK TO EDIT MASTER TITLE STYLE</a:t>
            </a:r>
          </a:p>
        </p:txBody>
      </p:sp>
      <p:sp>
        <p:nvSpPr>
          <p:cNvPr id="6" name="Text Placeholder 5">
            <a:extLst>
              <a:ext uri="{FF2B5EF4-FFF2-40B4-BE49-F238E27FC236}">
                <a16:creationId xmlns:a16="http://schemas.microsoft.com/office/drawing/2014/main" id="{D807C30D-2854-9744-9553-0B093EA2F390}"/>
              </a:ext>
            </a:extLst>
          </p:cNvPr>
          <p:cNvSpPr>
            <a:spLocks noGrp="1"/>
          </p:cNvSpPr>
          <p:nvPr>
            <p:ph type="body" idx="1"/>
          </p:nvPr>
        </p:nvSpPr>
        <p:spPr>
          <a:xfrm>
            <a:off x="415991" y="1451151"/>
            <a:ext cx="11329624" cy="4754969"/>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638060D9-DFFC-9B41-980E-2FA5E853809C}"/>
              </a:ext>
            </a:extLst>
          </p:cNvPr>
          <p:cNvCxnSpPr>
            <a:cxnSpLocks/>
          </p:cNvCxnSpPr>
          <p:nvPr userDrawn="1"/>
        </p:nvCxnSpPr>
        <p:spPr>
          <a:xfrm>
            <a:off x="11825964" y="1266093"/>
            <a:ext cx="0" cy="522514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D4F14CC5-035A-D74A-9AFE-D598905636B1}"/>
              </a:ext>
            </a:extLst>
          </p:cNvPr>
          <p:cNvGrpSpPr/>
          <p:nvPr userDrawn="1"/>
        </p:nvGrpSpPr>
        <p:grpSpPr>
          <a:xfrm>
            <a:off x="549943" y="6416505"/>
            <a:ext cx="812251" cy="201242"/>
            <a:chOff x="9337806" y="4106341"/>
            <a:chExt cx="1729902" cy="428598"/>
          </a:xfrm>
          <a:solidFill>
            <a:schemeClr val="tx1"/>
          </a:solidFill>
        </p:grpSpPr>
        <p:sp>
          <p:nvSpPr>
            <p:cNvPr id="11" name="Freeform 10">
              <a:extLst>
                <a:ext uri="{FF2B5EF4-FFF2-40B4-BE49-F238E27FC236}">
                  <a16:creationId xmlns:a16="http://schemas.microsoft.com/office/drawing/2014/main" id="{CD5C3B9C-FACD-1E4F-9A3A-EA59E919E718}"/>
                </a:ext>
              </a:extLst>
            </p:cNvPr>
            <p:cNvSpPr/>
            <p:nvPr/>
          </p:nvSpPr>
          <p:spPr>
            <a:xfrm>
              <a:off x="9337806" y="4106341"/>
              <a:ext cx="1729902" cy="428598"/>
            </a:xfrm>
            <a:custGeom>
              <a:avLst/>
              <a:gdLst>
                <a:gd name="connsiteX0" fmla="*/ 1682722 w 1729902"/>
                <a:gd name="connsiteY0" fmla="*/ 96586 h 428598"/>
                <a:gd name="connsiteX1" fmla="*/ 1674027 w 1729902"/>
                <a:gd name="connsiteY1" fmla="*/ 96586 h 428598"/>
                <a:gd name="connsiteX2" fmla="*/ 1674027 w 1729902"/>
                <a:gd name="connsiteY2" fmla="*/ 91814 h 428598"/>
                <a:gd name="connsiteX3" fmla="*/ 1695768 w 1729902"/>
                <a:gd name="connsiteY3" fmla="*/ 91814 h 428598"/>
                <a:gd name="connsiteX4" fmla="*/ 1695768 w 1729902"/>
                <a:gd name="connsiteY4" fmla="*/ 96586 h 428598"/>
                <a:gd name="connsiteX5" fmla="*/ 1687289 w 1729902"/>
                <a:gd name="connsiteY5" fmla="*/ 96586 h 428598"/>
                <a:gd name="connsiteX6" fmla="*/ 1687289 w 1729902"/>
                <a:gd name="connsiteY6" fmla="*/ 122613 h 428598"/>
                <a:gd name="connsiteX7" fmla="*/ 1682331 w 1729902"/>
                <a:gd name="connsiteY7" fmla="*/ 122613 h 428598"/>
                <a:gd name="connsiteX8" fmla="*/ 1682722 w 1729902"/>
                <a:gd name="connsiteY8" fmla="*/ 96586 h 428598"/>
                <a:gd name="connsiteX9" fmla="*/ 1700118 w 1729902"/>
                <a:gd name="connsiteY9" fmla="*/ 91814 h 428598"/>
                <a:gd name="connsiteX10" fmla="*/ 1707814 w 1729902"/>
                <a:gd name="connsiteY10" fmla="*/ 91814 h 428598"/>
                <a:gd name="connsiteX11" fmla="*/ 1715032 w 1729902"/>
                <a:gd name="connsiteY11" fmla="*/ 113503 h 428598"/>
                <a:gd name="connsiteX12" fmla="*/ 1722163 w 1729902"/>
                <a:gd name="connsiteY12" fmla="*/ 91814 h 428598"/>
                <a:gd name="connsiteX13" fmla="*/ 1729902 w 1729902"/>
                <a:gd name="connsiteY13" fmla="*/ 91814 h 428598"/>
                <a:gd name="connsiteX14" fmla="*/ 1729902 w 1729902"/>
                <a:gd name="connsiteY14" fmla="*/ 122526 h 428598"/>
                <a:gd name="connsiteX15" fmla="*/ 1725035 w 1729902"/>
                <a:gd name="connsiteY15" fmla="*/ 122526 h 428598"/>
                <a:gd name="connsiteX16" fmla="*/ 1725035 w 1729902"/>
                <a:gd name="connsiteY16" fmla="*/ 97844 h 428598"/>
                <a:gd name="connsiteX17" fmla="*/ 1716596 w 1729902"/>
                <a:gd name="connsiteY17" fmla="*/ 122526 h 428598"/>
                <a:gd name="connsiteX18" fmla="*/ 1713163 w 1729902"/>
                <a:gd name="connsiteY18" fmla="*/ 122526 h 428598"/>
                <a:gd name="connsiteX19" fmla="*/ 1704859 w 1729902"/>
                <a:gd name="connsiteY19" fmla="*/ 97844 h 428598"/>
                <a:gd name="connsiteX20" fmla="*/ 1704859 w 1729902"/>
                <a:gd name="connsiteY20" fmla="*/ 122526 h 428598"/>
                <a:gd name="connsiteX21" fmla="*/ 1700161 w 1729902"/>
                <a:gd name="connsiteY21" fmla="*/ 122526 h 428598"/>
                <a:gd name="connsiteX22" fmla="*/ 1700118 w 1729902"/>
                <a:gd name="connsiteY22" fmla="*/ 91814 h 428598"/>
                <a:gd name="connsiteX23" fmla="*/ 1531574 w 1729902"/>
                <a:gd name="connsiteY23" fmla="*/ 90860 h 428598"/>
                <a:gd name="connsiteX24" fmla="*/ 1515022 w 1729902"/>
                <a:gd name="connsiteY24" fmla="*/ 96598 h 428598"/>
                <a:gd name="connsiteX25" fmla="*/ 1506704 w 1729902"/>
                <a:gd name="connsiteY25" fmla="*/ 111985 h 428598"/>
                <a:gd name="connsiteX26" fmla="*/ 1437783 w 1729902"/>
                <a:gd name="connsiteY26" fmla="*/ 85525 h 428598"/>
                <a:gd name="connsiteX27" fmla="*/ 1390608 w 1729902"/>
                <a:gd name="connsiteY27" fmla="*/ 94645 h 428598"/>
                <a:gd name="connsiteX28" fmla="*/ 1350646 w 1729902"/>
                <a:gd name="connsiteY28" fmla="*/ 121263 h 428598"/>
                <a:gd name="connsiteX29" fmla="*/ 1324116 w 1729902"/>
                <a:gd name="connsiteY29" fmla="*/ 161232 h 428598"/>
                <a:gd name="connsiteX30" fmla="*/ 1315159 w 1729902"/>
                <a:gd name="connsiteY30" fmla="*/ 208327 h 428598"/>
                <a:gd name="connsiteX31" fmla="*/ 1315159 w 1729902"/>
                <a:gd name="connsiteY31" fmla="*/ 213272 h 428598"/>
                <a:gd name="connsiteX32" fmla="*/ 1347260 w 1729902"/>
                <a:gd name="connsiteY32" fmla="*/ 238760 h 428598"/>
                <a:gd name="connsiteX33" fmla="*/ 1359380 w 1729902"/>
                <a:gd name="connsiteY33" fmla="*/ 277861 h 428598"/>
                <a:gd name="connsiteX34" fmla="*/ 1355513 w 1729902"/>
                <a:gd name="connsiteY34" fmla="*/ 300417 h 428598"/>
                <a:gd name="connsiteX35" fmla="*/ 1437653 w 1729902"/>
                <a:gd name="connsiteY35" fmla="*/ 330348 h 428598"/>
                <a:gd name="connsiteX36" fmla="*/ 1506444 w 1729902"/>
                <a:gd name="connsiteY36" fmla="*/ 302587 h 428598"/>
                <a:gd name="connsiteX37" fmla="*/ 1514218 w 1729902"/>
                <a:gd name="connsiteY37" fmla="*/ 319148 h 428598"/>
                <a:gd name="connsiteX38" fmla="*/ 1531444 w 1729902"/>
                <a:gd name="connsiteY38" fmla="*/ 325403 h 428598"/>
                <a:gd name="connsiteX39" fmla="*/ 1556926 w 1729902"/>
                <a:gd name="connsiteY39" fmla="*/ 299941 h 428598"/>
                <a:gd name="connsiteX40" fmla="*/ 1556926 w 1729902"/>
                <a:gd name="connsiteY40" fmla="*/ 115932 h 428598"/>
                <a:gd name="connsiteX41" fmla="*/ 1555418 w 1729902"/>
                <a:gd name="connsiteY41" fmla="*/ 106006 h 428598"/>
                <a:gd name="connsiteX42" fmla="*/ 1549917 w 1729902"/>
                <a:gd name="connsiteY42" fmla="*/ 97599 h 428598"/>
                <a:gd name="connsiteX43" fmla="*/ 1541417 w 1729902"/>
                <a:gd name="connsiteY43" fmla="*/ 92228 h 428598"/>
                <a:gd name="connsiteX44" fmla="*/ 1531444 w 1729902"/>
                <a:gd name="connsiteY44" fmla="*/ 90860 h 428598"/>
                <a:gd name="connsiteX45" fmla="*/ 1531574 w 1729902"/>
                <a:gd name="connsiteY45" fmla="*/ 90860 h 428598"/>
                <a:gd name="connsiteX46" fmla="*/ 1437436 w 1729902"/>
                <a:gd name="connsiteY46" fmla="*/ 276430 h 428598"/>
                <a:gd name="connsiteX47" fmla="*/ 1399403 w 1729902"/>
                <a:gd name="connsiteY47" fmla="*/ 264970 h 428598"/>
                <a:gd name="connsiteX48" fmla="*/ 1374177 w 1729902"/>
                <a:gd name="connsiteY48" fmla="*/ 234358 h 428598"/>
                <a:gd name="connsiteX49" fmla="*/ 1370253 w 1729902"/>
                <a:gd name="connsiteY49" fmla="*/ 194922 h 428598"/>
                <a:gd name="connsiteX50" fmla="*/ 1388965 w 1729902"/>
                <a:gd name="connsiteY50" fmla="*/ 159964 h 428598"/>
                <a:gd name="connsiteX51" fmla="*/ 1423999 w 1729902"/>
                <a:gd name="connsiteY51" fmla="*/ 141276 h 428598"/>
                <a:gd name="connsiteX52" fmla="*/ 1463531 w 1729902"/>
                <a:gd name="connsiteY52" fmla="*/ 145162 h 428598"/>
                <a:gd name="connsiteX53" fmla="*/ 1494232 w 1729902"/>
                <a:gd name="connsiteY53" fmla="*/ 170311 h 428598"/>
                <a:gd name="connsiteX54" fmla="*/ 1505748 w 1729902"/>
                <a:gd name="connsiteY54" fmla="*/ 208240 h 428598"/>
                <a:gd name="connsiteX55" fmla="*/ 1485728 w 1729902"/>
                <a:gd name="connsiteY55" fmla="*/ 256430 h 428598"/>
                <a:gd name="connsiteX56" fmla="*/ 1437436 w 1729902"/>
                <a:gd name="connsiteY56" fmla="*/ 276430 h 428598"/>
                <a:gd name="connsiteX57" fmla="*/ 1082784 w 1729902"/>
                <a:gd name="connsiteY57" fmla="*/ 90860 h 428598"/>
                <a:gd name="connsiteX58" fmla="*/ 1066244 w 1729902"/>
                <a:gd name="connsiteY58" fmla="*/ 96602 h 428598"/>
                <a:gd name="connsiteX59" fmla="*/ 1057953 w 1729902"/>
                <a:gd name="connsiteY59" fmla="*/ 111985 h 428598"/>
                <a:gd name="connsiteX60" fmla="*/ 989032 w 1729902"/>
                <a:gd name="connsiteY60" fmla="*/ 85525 h 428598"/>
                <a:gd name="connsiteX61" fmla="*/ 941856 w 1729902"/>
                <a:gd name="connsiteY61" fmla="*/ 94645 h 428598"/>
                <a:gd name="connsiteX62" fmla="*/ 901894 w 1729902"/>
                <a:gd name="connsiteY62" fmla="*/ 121263 h 428598"/>
                <a:gd name="connsiteX63" fmla="*/ 875369 w 1729902"/>
                <a:gd name="connsiteY63" fmla="*/ 161232 h 428598"/>
                <a:gd name="connsiteX64" fmla="*/ 866408 w 1729902"/>
                <a:gd name="connsiteY64" fmla="*/ 208327 h 428598"/>
                <a:gd name="connsiteX65" fmla="*/ 989032 w 1729902"/>
                <a:gd name="connsiteY65" fmla="*/ 330348 h 428598"/>
                <a:gd name="connsiteX66" fmla="*/ 1057823 w 1729902"/>
                <a:gd name="connsiteY66" fmla="*/ 302587 h 428598"/>
                <a:gd name="connsiteX67" fmla="*/ 1065584 w 1729902"/>
                <a:gd name="connsiteY67" fmla="*/ 319132 h 428598"/>
                <a:gd name="connsiteX68" fmla="*/ 1082784 w 1729902"/>
                <a:gd name="connsiteY68" fmla="*/ 325403 h 428598"/>
                <a:gd name="connsiteX69" fmla="*/ 1108305 w 1729902"/>
                <a:gd name="connsiteY69" fmla="*/ 299941 h 428598"/>
                <a:gd name="connsiteX70" fmla="*/ 1108305 w 1729902"/>
                <a:gd name="connsiteY70" fmla="*/ 115932 h 428598"/>
                <a:gd name="connsiteX71" fmla="*/ 1082784 w 1729902"/>
                <a:gd name="connsiteY71" fmla="*/ 90860 h 428598"/>
                <a:gd name="connsiteX72" fmla="*/ 986902 w 1729902"/>
                <a:gd name="connsiteY72" fmla="*/ 276430 h 428598"/>
                <a:gd name="connsiteX73" fmla="*/ 948874 w 1729902"/>
                <a:gd name="connsiteY73" fmla="*/ 264970 h 428598"/>
                <a:gd name="connsiteX74" fmla="*/ 923644 w 1729902"/>
                <a:gd name="connsiteY74" fmla="*/ 234358 h 428598"/>
                <a:gd name="connsiteX75" fmla="*/ 919720 w 1729902"/>
                <a:gd name="connsiteY75" fmla="*/ 194922 h 428598"/>
                <a:gd name="connsiteX76" fmla="*/ 938432 w 1729902"/>
                <a:gd name="connsiteY76" fmla="*/ 159964 h 428598"/>
                <a:gd name="connsiteX77" fmla="*/ 973466 w 1729902"/>
                <a:gd name="connsiteY77" fmla="*/ 141276 h 428598"/>
                <a:gd name="connsiteX78" fmla="*/ 1012998 w 1729902"/>
                <a:gd name="connsiteY78" fmla="*/ 145162 h 428598"/>
                <a:gd name="connsiteX79" fmla="*/ 1043704 w 1729902"/>
                <a:gd name="connsiteY79" fmla="*/ 170311 h 428598"/>
                <a:gd name="connsiteX80" fmla="*/ 1055215 w 1729902"/>
                <a:gd name="connsiteY80" fmla="*/ 208240 h 428598"/>
                <a:gd name="connsiteX81" fmla="*/ 1035195 w 1729902"/>
                <a:gd name="connsiteY81" fmla="*/ 256430 h 428598"/>
                <a:gd name="connsiteX82" fmla="*/ 986902 w 1729902"/>
                <a:gd name="connsiteY82" fmla="*/ 276430 h 428598"/>
                <a:gd name="connsiteX83" fmla="*/ 216374 w 1729902"/>
                <a:gd name="connsiteY83" fmla="*/ 71 h 428598"/>
                <a:gd name="connsiteX84" fmla="*/ 206404 w 1729902"/>
                <a:gd name="connsiteY84" fmla="*/ 1438 h 428598"/>
                <a:gd name="connsiteX85" fmla="*/ 197902 w 1729902"/>
                <a:gd name="connsiteY85" fmla="*/ 6810 h 428598"/>
                <a:gd name="connsiteX86" fmla="*/ 192400 w 1729902"/>
                <a:gd name="connsiteY86" fmla="*/ 15217 h 428598"/>
                <a:gd name="connsiteX87" fmla="*/ 190893 w 1729902"/>
                <a:gd name="connsiteY87" fmla="*/ 25143 h 428598"/>
                <a:gd name="connsiteX88" fmla="*/ 190893 w 1729902"/>
                <a:gd name="connsiteY88" fmla="*/ 112332 h 428598"/>
                <a:gd name="connsiteX89" fmla="*/ 122580 w 1729902"/>
                <a:gd name="connsiteY89" fmla="*/ 85525 h 428598"/>
                <a:gd name="connsiteX90" fmla="*/ 0 w 1729902"/>
                <a:gd name="connsiteY90" fmla="*/ 208327 h 428598"/>
                <a:gd name="connsiteX91" fmla="*/ 122580 w 1729902"/>
                <a:gd name="connsiteY91" fmla="*/ 330348 h 428598"/>
                <a:gd name="connsiteX92" fmla="*/ 193023 w 1729902"/>
                <a:gd name="connsiteY92" fmla="*/ 300721 h 428598"/>
                <a:gd name="connsiteX93" fmla="*/ 220505 w 1729902"/>
                <a:gd name="connsiteY93" fmla="*/ 325403 h 428598"/>
                <a:gd name="connsiteX94" fmla="*/ 229010 w 1729902"/>
                <a:gd name="connsiteY94" fmla="*/ 323693 h 428598"/>
                <a:gd name="connsiteX95" fmla="*/ 236126 w 1729902"/>
                <a:gd name="connsiteY95" fmla="*/ 318742 h 428598"/>
                <a:gd name="connsiteX96" fmla="*/ 240673 w 1729902"/>
                <a:gd name="connsiteY96" fmla="*/ 311372 h 428598"/>
                <a:gd name="connsiteX97" fmla="*/ 241899 w 1729902"/>
                <a:gd name="connsiteY97" fmla="*/ 302803 h 428598"/>
                <a:gd name="connsiteX98" fmla="*/ 241899 w 1729902"/>
                <a:gd name="connsiteY98" fmla="*/ 25186 h 428598"/>
                <a:gd name="connsiteX99" fmla="*/ 240287 w 1729902"/>
                <a:gd name="connsiteY99" fmla="*/ 15306 h 428598"/>
                <a:gd name="connsiteX100" fmla="*/ 234766 w 1729902"/>
                <a:gd name="connsiteY100" fmla="*/ 6947 h 428598"/>
                <a:gd name="connsiteX101" fmla="*/ 226302 w 1729902"/>
                <a:gd name="connsiteY101" fmla="*/ 1569 h 428598"/>
                <a:gd name="connsiteX102" fmla="*/ 216374 w 1729902"/>
                <a:gd name="connsiteY102" fmla="*/ 114 h 428598"/>
                <a:gd name="connsiteX103" fmla="*/ 216374 w 1729902"/>
                <a:gd name="connsiteY103" fmla="*/ 71 h 428598"/>
                <a:gd name="connsiteX104" fmla="*/ 122102 w 1729902"/>
                <a:gd name="connsiteY104" fmla="*/ 276430 h 428598"/>
                <a:gd name="connsiteX105" fmla="*/ 84073 w 1729902"/>
                <a:gd name="connsiteY105" fmla="*/ 264970 h 428598"/>
                <a:gd name="connsiteX106" fmla="*/ 58843 w 1729902"/>
                <a:gd name="connsiteY106" fmla="*/ 234358 h 428598"/>
                <a:gd name="connsiteX107" fmla="*/ 54922 w 1729902"/>
                <a:gd name="connsiteY107" fmla="*/ 194922 h 428598"/>
                <a:gd name="connsiteX108" fmla="*/ 73634 w 1729902"/>
                <a:gd name="connsiteY108" fmla="*/ 159964 h 428598"/>
                <a:gd name="connsiteX109" fmla="*/ 108665 w 1729902"/>
                <a:gd name="connsiteY109" fmla="*/ 141276 h 428598"/>
                <a:gd name="connsiteX110" fmla="*/ 148200 w 1729902"/>
                <a:gd name="connsiteY110" fmla="*/ 145162 h 428598"/>
                <a:gd name="connsiteX111" fmla="*/ 178902 w 1729902"/>
                <a:gd name="connsiteY111" fmla="*/ 170311 h 428598"/>
                <a:gd name="connsiteX112" fmla="*/ 190415 w 1729902"/>
                <a:gd name="connsiteY112" fmla="*/ 208240 h 428598"/>
                <a:gd name="connsiteX113" fmla="*/ 170396 w 1729902"/>
                <a:gd name="connsiteY113" fmla="*/ 256430 h 428598"/>
                <a:gd name="connsiteX114" fmla="*/ 122102 w 1729902"/>
                <a:gd name="connsiteY114" fmla="*/ 276430 h 428598"/>
                <a:gd name="connsiteX115" fmla="*/ 587634 w 1729902"/>
                <a:gd name="connsiteY115" fmla="*/ 90860 h 428598"/>
                <a:gd name="connsiteX116" fmla="*/ 560805 w 1729902"/>
                <a:gd name="connsiteY116" fmla="*/ 115455 h 428598"/>
                <a:gd name="connsiteX117" fmla="*/ 490145 w 1729902"/>
                <a:gd name="connsiteY117" fmla="*/ 85525 h 428598"/>
                <a:gd name="connsiteX118" fmla="*/ 367522 w 1729902"/>
                <a:gd name="connsiteY118" fmla="*/ 207936 h 428598"/>
                <a:gd name="connsiteX119" fmla="*/ 490145 w 1729902"/>
                <a:gd name="connsiteY119" fmla="*/ 330348 h 428598"/>
                <a:gd name="connsiteX120" fmla="*/ 557937 w 1729902"/>
                <a:gd name="connsiteY120" fmla="*/ 304322 h 428598"/>
                <a:gd name="connsiteX121" fmla="*/ 485187 w 1729902"/>
                <a:gd name="connsiteY121" fmla="*/ 377631 h 428598"/>
                <a:gd name="connsiteX122" fmla="*/ 475153 w 1729902"/>
                <a:gd name="connsiteY122" fmla="*/ 379097 h 428598"/>
                <a:gd name="connsiteX123" fmla="*/ 466627 w 1729902"/>
                <a:gd name="connsiteY123" fmla="*/ 384576 h 428598"/>
                <a:gd name="connsiteX124" fmla="*/ 461134 w 1729902"/>
                <a:gd name="connsiteY124" fmla="*/ 393081 h 428598"/>
                <a:gd name="connsiteX125" fmla="*/ 459665 w 1729902"/>
                <a:gd name="connsiteY125" fmla="*/ 403091 h 428598"/>
                <a:gd name="connsiteX126" fmla="*/ 486843 w 1729902"/>
                <a:gd name="connsiteY126" fmla="*/ 428598 h 428598"/>
                <a:gd name="connsiteX127" fmla="*/ 609423 w 1729902"/>
                <a:gd name="connsiteY127" fmla="*/ 306577 h 428598"/>
                <a:gd name="connsiteX128" fmla="*/ 609423 w 1729902"/>
                <a:gd name="connsiteY128" fmla="*/ 113069 h 428598"/>
                <a:gd name="connsiteX129" fmla="*/ 608059 w 1729902"/>
                <a:gd name="connsiteY129" fmla="*/ 104532 h 428598"/>
                <a:gd name="connsiteX130" fmla="*/ 603396 w 1729902"/>
                <a:gd name="connsiteY130" fmla="*/ 97246 h 428598"/>
                <a:gd name="connsiteX131" fmla="*/ 596204 w 1729902"/>
                <a:gd name="connsiteY131" fmla="*/ 92421 h 428598"/>
                <a:gd name="connsiteX132" fmla="*/ 587678 w 1729902"/>
                <a:gd name="connsiteY132" fmla="*/ 90860 h 428598"/>
                <a:gd name="connsiteX133" fmla="*/ 587634 w 1729902"/>
                <a:gd name="connsiteY133" fmla="*/ 90860 h 428598"/>
                <a:gd name="connsiteX134" fmla="*/ 489015 w 1729902"/>
                <a:gd name="connsiteY134" fmla="*/ 276430 h 428598"/>
                <a:gd name="connsiteX135" fmla="*/ 450987 w 1729902"/>
                <a:gd name="connsiteY135" fmla="*/ 264970 h 428598"/>
                <a:gd name="connsiteX136" fmla="*/ 425757 w 1729902"/>
                <a:gd name="connsiteY136" fmla="*/ 234358 h 428598"/>
                <a:gd name="connsiteX137" fmla="*/ 421837 w 1729902"/>
                <a:gd name="connsiteY137" fmla="*/ 194922 h 428598"/>
                <a:gd name="connsiteX138" fmla="*/ 440549 w 1729902"/>
                <a:gd name="connsiteY138" fmla="*/ 159964 h 428598"/>
                <a:gd name="connsiteX139" fmla="*/ 475579 w 1729902"/>
                <a:gd name="connsiteY139" fmla="*/ 141276 h 428598"/>
                <a:gd name="connsiteX140" fmla="*/ 515115 w 1729902"/>
                <a:gd name="connsiteY140" fmla="*/ 145162 h 428598"/>
                <a:gd name="connsiteX141" fmla="*/ 545817 w 1729902"/>
                <a:gd name="connsiteY141" fmla="*/ 170311 h 428598"/>
                <a:gd name="connsiteX142" fmla="*/ 557328 w 1729902"/>
                <a:gd name="connsiteY142" fmla="*/ 208240 h 428598"/>
                <a:gd name="connsiteX143" fmla="*/ 537308 w 1729902"/>
                <a:gd name="connsiteY143" fmla="*/ 256430 h 428598"/>
                <a:gd name="connsiteX144" fmla="*/ 489015 w 1729902"/>
                <a:gd name="connsiteY144" fmla="*/ 276430 h 428598"/>
                <a:gd name="connsiteX145" fmla="*/ 1626847 w 1729902"/>
                <a:gd name="connsiteY145" fmla="*/ 89125 h 428598"/>
                <a:gd name="connsiteX146" fmla="*/ 1617152 w 1729902"/>
                <a:gd name="connsiteY146" fmla="*/ 90889 h 428598"/>
                <a:gd name="connsiteX147" fmla="*/ 1608930 w 1729902"/>
                <a:gd name="connsiteY147" fmla="*/ 96313 h 428598"/>
                <a:gd name="connsiteX148" fmla="*/ 1603511 w 1729902"/>
                <a:gd name="connsiteY148" fmla="*/ 104523 h 428598"/>
                <a:gd name="connsiteX149" fmla="*/ 1601760 w 1729902"/>
                <a:gd name="connsiteY149" fmla="*/ 114197 h 428598"/>
                <a:gd name="connsiteX150" fmla="*/ 1601147 w 1729902"/>
                <a:gd name="connsiteY150" fmla="*/ 300721 h 428598"/>
                <a:gd name="connsiteX151" fmla="*/ 1602677 w 1729902"/>
                <a:gd name="connsiteY151" fmla="*/ 310576 h 428598"/>
                <a:gd name="connsiteX152" fmla="*/ 1608061 w 1729902"/>
                <a:gd name="connsiteY152" fmla="*/ 318977 h 428598"/>
                <a:gd name="connsiteX153" fmla="*/ 1616387 w 1729902"/>
                <a:gd name="connsiteY153" fmla="*/ 324492 h 428598"/>
                <a:gd name="connsiteX154" fmla="*/ 1626238 w 1729902"/>
                <a:gd name="connsiteY154" fmla="*/ 326184 h 428598"/>
                <a:gd name="connsiteX155" fmla="*/ 1651764 w 1729902"/>
                <a:gd name="connsiteY155" fmla="*/ 300721 h 428598"/>
                <a:gd name="connsiteX156" fmla="*/ 1652373 w 1729902"/>
                <a:gd name="connsiteY156" fmla="*/ 114197 h 428598"/>
                <a:gd name="connsiteX157" fmla="*/ 1650773 w 1729902"/>
                <a:gd name="connsiteY157" fmla="*/ 104309 h 428598"/>
                <a:gd name="connsiteX158" fmla="*/ 1645255 w 1729902"/>
                <a:gd name="connsiteY158" fmla="*/ 95942 h 428598"/>
                <a:gd name="connsiteX159" fmla="*/ 1636785 w 1729902"/>
                <a:gd name="connsiteY159" fmla="*/ 90566 h 428598"/>
                <a:gd name="connsiteX160" fmla="*/ 1626847 w 1729902"/>
                <a:gd name="connsiteY160" fmla="*/ 89125 h 428598"/>
                <a:gd name="connsiteX161" fmla="*/ 307559 w 1729902"/>
                <a:gd name="connsiteY161" fmla="*/ 88040 h 428598"/>
                <a:gd name="connsiteX162" fmla="*/ 297857 w 1729902"/>
                <a:gd name="connsiteY162" fmla="*/ 89804 h 428598"/>
                <a:gd name="connsiteX163" fmla="*/ 289628 w 1729902"/>
                <a:gd name="connsiteY163" fmla="*/ 95226 h 428598"/>
                <a:gd name="connsiteX164" fmla="*/ 284194 w 1729902"/>
                <a:gd name="connsiteY164" fmla="*/ 103435 h 428598"/>
                <a:gd name="connsiteX165" fmla="*/ 282425 w 1729902"/>
                <a:gd name="connsiteY165" fmla="*/ 113113 h 428598"/>
                <a:gd name="connsiteX166" fmla="*/ 282425 w 1729902"/>
                <a:gd name="connsiteY166" fmla="*/ 299941 h 428598"/>
                <a:gd name="connsiteX167" fmla="*/ 283955 w 1729902"/>
                <a:gd name="connsiteY167" fmla="*/ 309806 h 428598"/>
                <a:gd name="connsiteX168" fmla="*/ 289351 w 1729902"/>
                <a:gd name="connsiteY168" fmla="*/ 318213 h 428598"/>
                <a:gd name="connsiteX169" fmla="*/ 297694 w 1729902"/>
                <a:gd name="connsiteY169" fmla="*/ 323726 h 428598"/>
                <a:gd name="connsiteX170" fmla="*/ 307559 w 1729902"/>
                <a:gd name="connsiteY170" fmla="*/ 325403 h 428598"/>
                <a:gd name="connsiteX171" fmla="*/ 333040 w 1729902"/>
                <a:gd name="connsiteY171" fmla="*/ 299941 h 428598"/>
                <a:gd name="connsiteX172" fmla="*/ 333040 w 1729902"/>
                <a:gd name="connsiteY172" fmla="*/ 113113 h 428598"/>
                <a:gd name="connsiteX173" fmla="*/ 331445 w 1729902"/>
                <a:gd name="connsiteY173" fmla="*/ 103235 h 428598"/>
                <a:gd name="connsiteX174" fmla="*/ 325937 w 1729902"/>
                <a:gd name="connsiteY174" fmla="*/ 94875 h 428598"/>
                <a:gd name="connsiteX175" fmla="*/ 317481 w 1729902"/>
                <a:gd name="connsiteY175" fmla="*/ 89496 h 428598"/>
                <a:gd name="connsiteX176" fmla="*/ 307559 w 1729902"/>
                <a:gd name="connsiteY176" fmla="*/ 88040 h 428598"/>
                <a:gd name="connsiteX177" fmla="*/ 679474 w 1729902"/>
                <a:gd name="connsiteY177" fmla="*/ 88691 h 428598"/>
                <a:gd name="connsiteX178" fmla="*/ 669779 w 1729902"/>
                <a:gd name="connsiteY178" fmla="*/ 90455 h 428598"/>
                <a:gd name="connsiteX179" fmla="*/ 661557 w 1729902"/>
                <a:gd name="connsiteY179" fmla="*/ 95879 h 428598"/>
                <a:gd name="connsiteX180" fmla="*/ 656134 w 1729902"/>
                <a:gd name="connsiteY180" fmla="*/ 104089 h 428598"/>
                <a:gd name="connsiteX181" fmla="*/ 654382 w 1729902"/>
                <a:gd name="connsiteY181" fmla="*/ 113763 h 428598"/>
                <a:gd name="connsiteX182" fmla="*/ 654382 w 1729902"/>
                <a:gd name="connsiteY182" fmla="*/ 299941 h 428598"/>
                <a:gd name="connsiteX183" fmla="*/ 655908 w 1729902"/>
                <a:gd name="connsiteY183" fmla="*/ 309795 h 428598"/>
                <a:gd name="connsiteX184" fmla="*/ 661296 w 1729902"/>
                <a:gd name="connsiteY184" fmla="*/ 318196 h 428598"/>
                <a:gd name="connsiteX185" fmla="*/ 669622 w 1729902"/>
                <a:gd name="connsiteY185" fmla="*/ 323712 h 428598"/>
                <a:gd name="connsiteX186" fmla="*/ 679474 w 1729902"/>
                <a:gd name="connsiteY186" fmla="*/ 325403 h 428598"/>
                <a:gd name="connsiteX187" fmla="*/ 705000 w 1729902"/>
                <a:gd name="connsiteY187" fmla="*/ 299941 h 428598"/>
                <a:gd name="connsiteX188" fmla="*/ 705000 w 1729902"/>
                <a:gd name="connsiteY188" fmla="*/ 113763 h 428598"/>
                <a:gd name="connsiteX189" fmla="*/ 703440 w 1729902"/>
                <a:gd name="connsiteY189" fmla="*/ 103835 h 428598"/>
                <a:gd name="connsiteX190" fmla="*/ 697930 w 1729902"/>
                <a:gd name="connsiteY190" fmla="*/ 95421 h 428598"/>
                <a:gd name="connsiteX191" fmla="*/ 689443 w 1729902"/>
                <a:gd name="connsiteY191" fmla="*/ 90012 h 428598"/>
                <a:gd name="connsiteX192" fmla="*/ 679474 w 1729902"/>
                <a:gd name="connsiteY192" fmla="*/ 88561 h 428598"/>
                <a:gd name="connsiteX193" fmla="*/ 679474 w 1729902"/>
                <a:gd name="connsiteY193" fmla="*/ 88691 h 428598"/>
                <a:gd name="connsiteX194" fmla="*/ 836319 w 1729902"/>
                <a:gd name="connsiteY194" fmla="*/ 275996 h 428598"/>
                <a:gd name="connsiteX195" fmla="*/ 809446 w 1729902"/>
                <a:gd name="connsiteY195" fmla="*/ 250924 h 428598"/>
                <a:gd name="connsiteX196" fmla="*/ 809446 w 1729902"/>
                <a:gd name="connsiteY196" fmla="*/ 143434 h 428598"/>
                <a:gd name="connsiteX197" fmla="*/ 822492 w 1729902"/>
                <a:gd name="connsiteY197" fmla="*/ 143434 h 428598"/>
                <a:gd name="connsiteX198" fmla="*/ 832234 w 1729902"/>
                <a:gd name="connsiteY198" fmla="*/ 141763 h 428598"/>
                <a:gd name="connsiteX199" fmla="*/ 840504 w 1729902"/>
                <a:gd name="connsiteY199" fmla="*/ 136361 h 428598"/>
                <a:gd name="connsiteX200" fmla="*/ 845932 w 1729902"/>
                <a:gd name="connsiteY200" fmla="*/ 128121 h 428598"/>
                <a:gd name="connsiteX201" fmla="*/ 847622 w 1729902"/>
                <a:gd name="connsiteY201" fmla="*/ 118405 h 428598"/>
                <a:gd name="connsiteX202" fmla="*/ 822492 w 1729902"/>
                <a:gd name="connsiteY202" fmla="*/ 92899 h 428598"/>
                <a:gd name="connsiteX203" fmla="*/ 809446 w 1729902"/>
                <a:gd name="connsiteY203" fmla="*/ 92899 h 428598"/>
                <a:gd name="connsiteX204" fmla="*/ 809446 w 1729902"/>
                <a:gd name="connsiteY204" fmla="*/ 25577 h 428598"/>
                <a:gd name="connsiteX205" fmla="*/ 783920 w 1729902"/>
                <a:gd name="connsiteY205" fmla="*/ 114 h 428598"/>
                <a:gd name="connsiteX206" fmla="*/ 774069 w 1729902"/>
                <a:gd name="connsiteY206" fmla="*/ 1805 h 428598"/>
                <a:gd name="connsiteX207" fmla="*/ 765742 w 1729902"/>
                <a:gd name="connsiteY207" fmla="*/ 7321 h 428598"/>
                <a:gd name="connsiteX208" fmla="*/ 760358 w 1729902"/>
                <a:gd name="connsiteY208" fmla="*/ 15722 h 428598"/>
                <a:gd name="connsiteX209" fmla="*/ 758829 w 1729902"/>
                <a:gd name="connsiteY209" fmla="*/ 25577 h 428598"/>
                <a:gd name="connsiteX210" fmla="*/ 758829 w 1729902"/>
                <a:gd name="connsiteY210" fmla="*/ 93506 h 428598"/>
                <a:gd name="connsiteX211" fmla="*/ 739091 w 1729902"/>
                <a:gd name="connsiteY211" fmla="*/ 118405 h 428598"/>
                <a:gd name="connsiteX212" fmla="*/ 744306 w 1729902"/>
                <a:gd name="connsiteY212" fmla="*/ 134497 h 428598"/>
                <a:gd name="connsiteX213" fmla="*/ 758829 w 1729902"/>
                <a:gd name="connsiteY213" fmla="*/ 143217 h 428598"/>
                <a:gd name="connsiteX214" fmla="*/ 758829 w 1729902"/>
                <a:gd name="connsiteY214" fmla="*/ 251444 h 428598"/>
                <a:gd name="connsiteX215" fmla="*/ 828406 w 1729902"/>
                <a:gd name="connsiteY215" fmla="*/ 325186 h 428598"/>
                <a:gd name="connsiteX216" fmla="*/ 857626 w 1729902"/>
                <a:gd name="connsiteY216" fmla="*/ 301762 h 428598"/>
                <a:gd name="connsiteX217" fmla="*/ 836363 w 1729902"/>
                <a:gd name="connsiteY217" fmla="*/ 275736 h 428598"/>
                <a:gd name="connsiteX218" fmla="*/ 836319 w 1729902"/>
                <a:gd name="connsiteY218" fmla="*/ 275996 h 428598"/>
                <a:gd name="connsiteX219" fmla="*/ 1181837 w 1729902"/>
                <a:gd name="connsiteY219" fmla="*/ 71 h 428598"/>
                <a:gd name="connsiteX220" fmla="*/ 1172055 w 1729902"/>
                <a:gd name="connsiteY220" fmla="*/ 1678 h 428598"/>
                <a:gd name="connsiteX221" fmla="*/ 1163750 w 1729902"/>
                <a:gd name="connsiteY221" fmla="*/ 7087 h 428598"/>
                <a:gd name="connsiteX222" fmla="*/ 1158340 w 1729902"/>
                <a:gd name="connsiteY222" fmla="*/ 15379 h 428598"/>
                <a:gd name="connsiteX223" fmla="*/ 1156750 w 1729902"/>
                <a:gd name="connsiteY223" fmla="*/ 25143 h 428598"/>
                <a:gd name="connsiteX224" fmla="*/ 1156750 w 1729902"/>
                <a:gd name="connsiteY224" fmla="*/ 299941 h 428598"/>
                <a:gd name="connsiteX225" fmla="*/ 1158275 w 1729902"/>
                <a:gd name="connsiteY225" fmla="*/ 309795 h 428598"/>
                <a:gd name="connsiteX226" fmla="*/ 1163659 w 1729902"/>
                <a:gd name="connsiteY226" fmla="*/ 318196 h 428598"/>
                <a:gd name="connsiteX227" fmla="*/ 1171985 w 1729902"/>
                <a:gd name="connsiteY227" fmla="*/ 323712 h 428598"/>
                <a:gd name="connsiteX228" fmla="*/ 1181837 w 1729902"/>
                <a:gd name="connsiteY228" fmla="*/ 325403 h 428598"/>
                <a:gd name="connsiteX229" fmla="*/ 1207363 w 1729902"/>
                <a:gd name="connsiteY229" fmla="*/ 299941 h 428598"/>
                <a:gd name="connsiteX230" fmla="*/ 1207363 w 1729902"/>
                <a:gd name="connsiteY230" fmla="*/ 25143 h 428598"/>
                <a:gd name="connsiteX231" fmla="*/ 1181837 w 1729902"/>
                <a:gd name="connsiteY231" fmla="*/ 71 h 428598"/>
                <a:gd name="connsiteX232" fmla="*/ 1329682 w 1729902"/>
                <a:gd name="connsiteY232" fmla="*/ 251184 h 428598"/>
                <a:gd name="connsiteX233" fmla="*/ 1326897 w 1729902"/>
                <a:gd name="connsiteY233" fmla="*/ 247497 h 428598"/>
                <a:gd name="connsiteX234" fmla="*/ 1319070 w 1729902"/>
                <a:gd name="connsiteY234" fmla="*/ 239993 h 428598"/>
                <a:gd name="connsiteX235" fmla="*/ 1315942 w 1729902"/>
                <a:gd name="connsiteY235" fmla="*/ 237824 h 428598"/>
                <a:gd name="connsiteX236" fmla="*/ 1298286 w 1729902"/>
                <a:gd name="connsiteY236" fmla="*/ 230797 h 428598"/>
                <a:gd name="connsiteX237" fmla="*/ 1290242 w 1729902"/>
                <a:gd name="connsiteY237" fmla="*/ 230146 h 428598"/>
                <a:gd name="connsiteX238" fmla="*/ 1267241 w 1729902"/>
                <a:gd name="connsiteY238" fmla="*/ 236045 h 428598"/>
                <a:gd name="connsiteX239" fmla="*/ 1263325 w 1729902"/>
                <a:gd name="connsiteY239" fmla="*/ 238431 h 428598"/>
                <a:gd name="connsiteX240" fmla="*/ 1247838 w 1729902"/>
                <a:gd name="connsiteY240" fmla="*/ 255588 h 428598"/>
                <a:gd name="connsiteX241" fmla="*/ 1242236 w 1729902"/>
                <a:gd name="connsiteY241" fmla="*/ 277992 h 428598"/>
                <a:gd name="connsiteX242" fmla="*/ 1247838 w 1729902"/>
                <a:gd name="connsiteY242" fmla="*/ 300395 h 428598"/>
                <a:gd name="connsiteX243" fmla="*/ 1263325 w 1729902"/>
                <a:gd name="connsiteY243" fmla="*/ 317552 h 428598"/>
                <a:gd name="connsiteX244" fmla="*/ 1267241 w 1729902"/>
                <a:gd name="connsiteY244" fmla="*/ 319938 h 428598"/>
                <a:gd name="connsiteX245" fmla="*/ 1294614 w 1729902"/>
                <a:gd name="connsiteY245" fmla="*/ 325476 h 428598"/>
                <a:gd name="connsiteX246" fmla="*/ 1320418 w 1729902"/>
                <a:gd name="connsiteY246" fmla="*/ 314819 h 428598"/>
                <a:gd name="connsiteX247" fmla="*/ 1326897 w 1729902"/>
                <a:gd name="connsiteY247" fmla="*/ 308312 h 428598"/>
                <a:gd name="connsiteX248" fmla="*/ 1329682 w 1729902"/>
                <a:gd name="connsiteY248" fmla="*/ 304669 h 428598"/>
                <a:gd name="connsiteX249" fmla="*/ 1334028 w 1729902"/>
                <a:gd name="connsiteY249" fmla="*/ 296557 h 428598"/>
                <a:gd name="connsiteX250" fmla="*/ 1337604 w 1729902"/>
                <a:gd name="connsiteY250" fmla="*/ 273386 h 428598"/>
                <a:gd name="connsiteX251" fmla="*/ 1329682 w 1729902"/>
                <a:gd name="connsiteY251" fmla="*/ 251314 h 428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1729902" h="428598">
                  <a:moveTo>
                    <a:pt x="1682722" y="96586"/>
                  </a:moveTo>
                  <a:lnTo>
                    <a:pt x="1674027" y="96586"/>
                  </a:lnTo>
                  <a:lnTo>
                    <a:pt x="1674027" y="91814"/>
                  </a:lnTo>
                  <a:lnTo>
                    <a:pt x="1695768" y="91814"/>
                  </a:lnTo>
                  <a:lnTo>
                    <a:pt x="1695768" y="96586"/>
                  </a:lnTo>
                  <a:lnTo>
                    <a:pt x="1687289" y="96586"/>
                  </a:lnTo>
                  <a:lnTo>
                    <a:pt x="1687289" y="122613"/>
                  </a:lnTo>
                  <a:lnTo>
                    <a:pt x="1682331" y="122613"/>
                  </a:lnTo>
                  <a:lnTo>
                    <a:pt x="1682722" y="96586"/>
                  </a:lnTo>
                  <a:close/>
                  <a:moveTo>
                    <a:pt x="1700118" y="91814"/>
                  </a:moveTo>
                  <a:lnTo>
                    <a:pt x="1707814" y="91814"/>
                  </a:lnTo>
                  <a:lnTo>
                    <a:pt x="1715032" y="113503"/>
                  </a:lnTo>
                  <a:lnTo>
                    <a:pt x="1722163" y="91814"/>
                  </a:lnTo>
                  <a:lnTo>
                    <a:pt x="1729902" y="91814"/>
                  </a:lnTo>
                  <a:lnTo>
                    <a:pt x="1729902" y="122526"/>
                  </a:lnTo>
                  <a:lnTo>
                    <a:pt x="1725035" y="122526"/>
                  </a:lnTo>
                  <a:lnTo>
                    <a:pt x="1725035" y="97844"/>
                  </a:lnTo>
                  <a:lnTo>
                    <a:pt x="1716596" y="122526"/>
                  </a:lnTo>
                  <a:lnTo>
                    <a:pt x="1713163" y="122526"/>
                  </a:lnTo>
                  <a:lnTo>
                    <a:pt x="1704859" y="97844"/>
                  </a:lnTo>
                  <a:lnTo>
                    <a:pt x="1704859" y="122526"/>
                  </a:lnTo>
                  <a:lnTo>
                    <a:pt x="1700161" y="122526"/>
                  </a:lnTo>
                  <a:lnTo>
                    <a:pt x="1700118" y="91814"/>
                  </a:lnTo>
                  <a:close/>
                  <a:moveTo>
                    <a:pt x="1531574" y="90860"/>
                  </a:moveTo>
                  <a:cubicBezTo>
                    <a:pt x="1525534" y="90641"/>
                    <a:pt x="1519628" y="92688"/>
                    <a:pt x="1515022" y="96598"/>
                  </a:cubicBezTo>
                  <a:cubicBezTo>
                    <a:pt x="1510415" y="100509"/>
                    <a:pt x="1507447" y="105999"/>
                    <a:pt x="1506704" y="111985"/>
                  </a:cubicBezTo>
                  <a:cubicBezTo>
                    <a:pt x="1490004" y="94894"/>
                    <a:pt x="1465699" y="85525"/>
                    <a:pt x="1437783" y="85525"/>
                  </a:cubicBezTo>
                  <a:cubicBezTo>
                    <a:pt x="1421605" y="85409"/>
                    <a:pt x="1405569" y="88509"/>
                    <a:pt x="1390608" y="94645"/>
                  </a:cubicBezTo>
                  <a:cubicBezTo>
                    <a:pt x="1375646" y="100781"/>
                    <a:pt x="1362061" y="109830"/>
                    <a:pt x="1350646" y="121263"/>
                  </a:cubicBezTo>
                  <a:cubicBezTo>
                    <a:pt x="1339230" y="132696"/>
                    <a:pt x="1330208" y="146283"/>
                    <a:pt x="1324116" y="161232"/>
                  </a:cubicBezTo>
                  <a:cubicBezTo>
                    <a:pt x="1318023" y="176181"/>
                    <a:pt x="1314977" y="192191"/>
                    <a:pt x="1315159" y="208327"/>
                  </a:cubicBezTo>
                  <a:cubicBezTo>
                    <a:pt x="1315159" y="210019"/>
                    <a:pt x="1315159" y="211623"/>
                    <a:pt x="1315159" y="213272"/>
                  </a:cubicBezTo>
                  <a:cubicBezTo>
                    <a:pt x="1328183" y="218356"/>
                    <a:pt x="1339369" y="227239"/>
                    <a:pt x="1347260" y="238760"/>
                  </a:cubicBezTo>
                  <a:cubicBezTo>
                    <a:pt x="1355148" y="250282"/>
                    <a:pt x="1359372" y="263908"/>
                    <a:pt x="1359380" y="277861"/>
                  </a:cubicBezTo>
                  <a:cubicBezTo>
                    <a:pt x="1359372" y="285544"/>
                    <a:pt x="1358064" y="293170"/>
                    <a:pt x="1355513" y="300417"/>
                  </a:cubicBezTo>
                  <a:cubicBezTo>
                    <a:pt x="1378301" y="320080"/>
                    <a:pt x="1407525" y="330728"/>
                    <a:pt x="1437653" y="330348"/>
                  </a:cubicBezTo>
                  <a:cubicBezTo>
                    <a:pt x="1463201" y="329742"/>
                    <a:pt x="1487658" y="319873"/>
                    <a:pt x="1506444" y="302587"/>
                  </a:cubicBezTo>
                  <a:cubicBezTo>
                    <a:pt x="1506735" y="308916"/>
                    <a:pt x="1509533" y="314871"/>
                    <a:pt x="1514218" y="319148"/>
                  </a:cubicBezTo>
                  <a:cubicBezTo>
                    <a:pt x="1518907" y="323425"/>
                    <a:pt x="1525099" y="325674"/>
                    <a:pt x="1531444" y="325403"/>
                  </a:cubicBezTo>
                  <a:cubicBezTo>
                    <a:pt x="1547188" y="325403"/>
                    <a:pt x="1556926" y="315643"/>
                    <a:pt x="1556926" y="299941"/>
                  </a:cubicBezTo>
                  <a:lnTo>
                    <a:pt x="1556926" y="115932"/>
                  </a:lnTo>
                  <a:cubicBezTo>
                    <a:pt x="1557143" y="112554"/>
                    <a:pt x="1556626" y="109169"/>
                    <a:pt x="1555418" y="106006"/>
                  </a:cubicBezTo>
                  <a:cubicBezTo>
                    <a:pt x="1554210" y="102843"/>
                    <a:pt x="1552333" y="99976"/>
                    <a:pt x="1549917" y="97599"/>
                  </a:cubicBezTo>
                  <a:cubicBezTo>
                    <a:pt x="1547501" y="95222"/>
                    <a:pt x="1544602" y="93390"/>
                    <a:pt x="1541417" y="92228"/>
                  </a:cubicBezTo>
                  <a:cubicBezTo>
                    <a:pt x="1538227" y="91065"/>
                    <a:pt x="1534829" y="90598"/>
                    <a:pt x="1531444" y="90860"/>
                  </a:cubicBezTo>
                  <a:lnTo>
                    <a:pt x="1531574" y="90860"/>
                  </a:lnTo>
                  <a:close/>
                  <a:moveTo>
                    <a:pt x="1437436" y="276430"/>
                  </a:moveTo>
                  <a:cubicBezTo>
                    <a:pt x="1423899" y="276447"/>
                    <a:pt x="1410667" y="272459"/>
                    <a:pt x="1399403" y="264970"/>
                  </a:cubicBezTo>
                  <a:cubicBezTo>
                    <a:pt x="1388144" y="257480"/>
                    <a:pt x="1379365" y="246828"/>
                    <a:pt x="1374177" y="234358"/>
                  </a:cubicBezTo>
                  <a:cubicBezTo>
                    <a:pt x="1368984" y="221890"/>
                    <a:pt x="1367619" y="208165"/>
                    <a:pt x="1370253" y="194922"/>
                  </a:cubicBezTo>
                  <a:cubicBezTo>
                    <a:pt x="1372886" y="181680"/>
                    <a:pt x="1379400" y="169514"/>
                    <a:pt x="1388965" y="159964"/>
                  </a:cubicBezTo>
                  <a:cubicBezTo>
                    <a:pt x="1398534" y="150415"/>
                    <a:pt x="1410723" y="143911"/>
                    <a:pt x="1423999" y="141276"/>
                  </a:cubicBezTo>
                  <a:cubicBezTo>
                    <a:pt x="1437270" y="138641"/>
                    <a:pt x="1451029" y="139993"/>
                    <a:pt x="1463531" y="145162"/>
                  </a:cubicBezTo>
                  <a:cubicBezTo>
                    <a:pt x="1476033" y="150330"/>
                    <a:pt x="1486719" y="159083"/>
                    <a:pt x="1494232" y="170311"/>
                  </a:cubicBezTo>
                  <a:cubicBezTo>
                    <a:pt x="1501750" y="181539"/>
                    <a:pt x="1505757" y="194739"/>
                    <a:pt x="1505748" y="208240"/>
                  </a:cubicBezTo>
                  <a:cubicBezTo>
                    <a:pt x="1505735" y="226314"/>
                    <a:pt x="1498535" y="243645"/>
                    <a:pt x="1485728" y="256430"/>
                  </a:cubicBezTo>
                  <a:cubicBezTo>
                    <a:pt x="1472922" y="269214"/>
                    <a:pt x="1455552" y="276407"/>
                    <a:pt x="1437436" y="276430"/>
                  </a:cubicBezTo>
                  <a:close/>
                  <a:moveTo>
                    <a:pt x="1082784" y="90860"/>
                  </a:moveTo>
                  <a:cubicBezTo>
                    <a:pt x="1076743" y="90641"/>
                    <a:pt x="1070842" y="92690"/>
                    <a:pt x="1066244" y="96602"/>
                  </a:cubicBezTo>
                  <a:cubicBezTo>
                    <a:pt x="1061651" y="100513"/>
                    <a:pt x="1058692" y="106003"/>
                    <a:pt x="1057953" y="111985"/>
                  </a:cubicBezTo>
                  <a:cubicBezTo>
                    <a:pt x="1041257" y="94894"/>
                    <a:pt x="1016948" y="85525"/>
                    <a:pt x="989032" y="85525"/>
                  </a:cubicBezTo>
                  <a:cubicBezTo>
                    <a:pt x="972857" y="85409"/>
                    <a:pt x="956818" y="88509"/>
                    <a:pt x="941856" y="94645"/>
                  </a:cubicBezTo>
                  <a:cubicBezTo>
                    <a:pt x="926894" y="100781"/>
                    <a:pt x="913310" y="109830"/>
                    <a:pt x="901894" y="121263"/>
                  </a:cubicBezTo>
                  <a:cubicBezTo>
                    <a:pt x="890478" y="132696"/>
                    <a:pt x="881461" y="146283"/>
                    <a:pt x="875369" y="161232"/>
                  </a:cubicBezTo>
                  <a:cubicBezTo>
                    <a:pt x="869276" y="176181"/>
                    <a:pt x="866230" y="192191"/>
                    <a:pt x="866408" y="208327"/>
                  </a:cubicBezTo>
                  <a:cubicBezTo>
                    <a:pt x="866408" y="277731"/>
                    <a:pt x="919111" y="330348"/>
                    <a:pt x="989032" y="330348"/>
                  </a:cubicBezTo>
                  <a:cubicBezTo>
                    <a:pt x="1014584" y="329742"/>
                    <a:pt x="1039037" y="319873"/>
                    <a:pt x="1057823" y="302587"/>
                  </a:cubicBezTo>
                  <a:cubicBezTo>
                    <a:pt x="1058118" y="308908"/>
                    <a:pt x="1060908" y="314857"/>
                    <a:pt x="1065584" y="319132"/>
                  </a:cubicBezTo>
                  <a:cubicBezTo>
                    <a:pt x="1070260" y="323407"/>
                    <a:pt x="1076443" y="325662"/>
                    <a:pt x="1082784" y="325403"/>
                  </a:cubicBezTo>
                  <a:cubicBezTo>
                    <a:pt x="1098523" y="325403"/>
                    <a:pt x="1108305" y="315643"/>
                    <a:pt x="1108305" y="299941"/>
                  </a:cubicBezTo>
                  <a:lnTo>
                    <a:pt x="1108305" y="115932"/>
                  </a:lnTo>
                  <a:cubicBezTo>
                    <a:pt x="1108305" y="100707"/>
                    <a:pt x="1098306" y="90860"/>
                    <a:pt x="1082784" y="90860"/>
                  </a:cubicBezTo>
                  <a:close/>
                  <a:moveTo>
                    <a:pt x="986902" y="276430"/>
                  </a:moveTo>
                  <a:cubicBezTo>
                    <a:pt x="973366" y="276447"/>
                    <a:pt x="960134" y="272459"/>
                    <a:pt x="948874" y="264970"/>
                  </a:cubicBezTo>
                  <a:cubicBezTo>
                    <a:pt x="937610" y="257480"/>
                    <a:pt x="928832" y="246828"/>
                    <a:pt x="923644" y="234358"/>
                  </a:cubicBezTo>
                  <a:cubicBezTo>
                    <a:pt x="918455" y="221890"/>
                    <a:pt x="917091" y="208165"/>
                    <a:pt x="919720" y="194922"/>
                  </a:cubicBezTo>
                  <a:cubicBezTo>
                    <a:pt x="922353" y="181680"/>
                    <a:pt x="928867" y="169514"/>
                    <a:pt x="938432" y="159964"/>
                  </a:cubicBezTo>
                  <a:cubicBezTo>
                    <a:pt x="948001" y="150415"/>
                    <a:pt x="960190" y="143911"/>
                    <a:pt x="973466" y="141276"/>
                  </a:cubicBezTo>
                  <a:cubicBezTo>
                    <a:pt x="986737" y="138641"/>
                    <a:pt x="1000495" y="139993"/>
                    <a:pt x="1012998" y="145162"/>
                  </a:cubicBezTo>
                  <a:cubicBezTo>
                    <a:pt x="1025504" y="150330"/>
                    <a:pt x="1036186" y="159083"/>
                    <a:pt x="1043704" y="170311"/>
                  </a:cubicBezTo>
                  <a:cubicBezTo>
                    <a:pt x="1051217" y="181539"/>
                    <a:pt x="1055224" y="194739"/>
                    <a:pt x="1055215" y="208240"/>
                  </a:cubicBezTo>
                  <a:cubicBezTo>
                    <a:pt x="1055202" y="226314"/>
                    <a:pt x="1048001" y="243645"/>
                    <a:pt x="1035195" y="256430"/>
                  </a:cubicBezTo>
                  <a:cubicBezTo>
                    <a:pt x="1022388" y="269214"/>
                    <a:pt x="1005019" y="276407"/>
                    <a:pt x="986902" y="276430"/>
                  </a:cubicBezTo>
                  <a:close/>
                  <a:moveTo>
                    <a:pt x="216374" y="71"/>
                  </a:moveTo>
                  <a:cubicBezTo>
                    <a:pt x="212991" y="-191"/>
                    <a:pt x="209591" y="275"/>
                    <a:pt x="206404" y="1438"/>
                  </a:cubicBezTo>
                  <a:cubicBezTo>
                    <a:pt x="203217" y="2601"/>
                    <a:pt x="200317" y="4433"/>
                    <a:pt x="197902" y="6810"/>
                  </a:cubicBezTo>
                  <a:cubicBezTo>
                    <a:pt x="195485" y="9187"/>
                    <a:pt x="193610" y="12054"/>
                    <a:pt x="192400" y="15217"/>
                  </a:cubicBezTo>
                  <a:cubicBezTo>
                    <a:pt x="191191" y="18380"/>
                    <a:pt x="190677" y="21765"/>
                    <a:pt x="190893" y="25143"/>
                  </a:cubicBezTo>
                  <a:lnTo>
                    <a:pt x="190893" y="112332"/>
                  </a:lnTo>
                  <a:cubicBezTo>
                    <a:pt x="174847" y="94981"/>
                    <a:pt x="150801" y="85525"/>
                    <a:pt x="122580" y="85525"/>
                  </a:cubicBezTo>
                  <a:cubicBezTo>
                    <a:pt x="57355" y="85525"/>
                    <a:pt x="0" y="142913"/>
                    <a:pt x="0" y="208327"/>
                  </a:cubicBezTo>
                  <a:cubicBezTo>
                    <a:pt x="0" y="273740"/>
                    <a:pt x="57311" y="330348"/>
                    <a:pt x="122580" y="330348"/>
                  </a:cubicBezTo>
                  <a:cubicBezTo>
                    <a:pt x="148972" y="329717"/>
                    <a:pt x="174144" y="319130"/>
                    <a:pt x="193023" y="300721"/>
                  </a:cubicBezTo>
                  <a:cubicBezTo>
                    <a:pt x="195850" y="316684"/>
                    <a:pt x="205503" y="325403"/>
                    <a:pt x="220505" y="325403"/>
                  </a:cubicBezTo>
                  <a:cubicBezTo>
                    <a:pt x="223428" y="325421"/>
                    <a:pt x="226323" y="324839"/>
                    <a:pt x="229010" y="323693"/>
                  </a:cubicBezTo>
                  <a:cubicBezTo>
                    <a:pt x="231697" y="322547"/>
                    <a:pt x="234119" y="320861"/>
                    <a:pt x="236126" y="318742"/>
                  </a:cubicBezTo>
                  <a:cubicBezTo>
                    <a:pt x="238133" y="316622"/>
                    <a:pt x="239680" y="314114"/>
                    <a:pt x="240673" y="311372"/>
                  </a:cubicBezTo>
                  <a:cubicBezTo>
                    <a:pt x="241667" y="308629"/>
                    <a:pt x="242084" y="305713"/>
                    <a:pt x="241899" y="302803"/>
                  </a:cubicBezTo>
                  <a:lnTo>
                    <a:pt x="241899" y="25186"/>
                  </a:lnTo>
                  <a:cubicBezTo>
                    <a:pt x="242065" y="21817"/>
                    <a:pt x="241516" y="18450"/>
                    <a:pt x="240287" y="15306"/>
                  </a:cubicBezTo>
                  <a:cubicBezTo>
                    <a:pt x="239057" y="12163"/>
                    <a:pt x="237176" y="9314"/>
                    <a:pt x="234766" y="6947"/>
                  </a:cubicBezTo>
                  <a:cubicBezTo>
                    <a:pt x="232356" y="4580"/>
                    <a:pt x="229472" y="2747"/>
                    <a:pt x="226302" y="1569"/>
                  </a:cubicBezTo>
                  <a:cubicBezTo>
                    <a:pt x="223132" y="392"/>
                    <a:pt x="219749" y="-104"/>
                    <a:pt x="216374" y="114"/>
                  </a:cubicBezTo>
                  <a:lnTo>
                    <a:pt x="216374" y="71"/>
                  </a:lnTo>
                  <a:close/>
                  <a:moveTo>
                    <a:pt x="122102" y="276430"/>
                  </a:moveTo>
                  <a:cubicBezTo>
                    <a:pt x="108568" y="276447"/>
                    <a:pt x="95333" y="272459"/>
                    <a:pt x="84073" y="264970"/>
                  </a:cubicBezTo>
                  <a:cubicBezTo>
                    <a:pt x="72812" y="257480"/>
                    <a:pt x="64032" y="246828"/>
                    <a:pt x="58843" y="234358"/>
                  </a:cubicBezTo>
                  <a:cubicBezTo>
                    <a:pt x="53654" y="221890"/>
                    <a:pt x="52289" y="208165"/>
                    <a:pt x="54922" y="194922"/>
                  </a:cubicBezTo>
                  <a:cubicBezTo>
                    <a:pt x="57555" y="181680"/>
                    <a:pt x="64067" y="169514"/>
                    <a:pt x="73634" y="159964"/>
                  </a:cubicBezTo>
                  <a:cubicBezTo>
                    <a:pt x="83201" y="150415"/>
                    <a:pt x="95392" y="143911"/>
                    <a:pt x="108665" y="141276"/>
                  </a:cubicBezTo>
                  <a:cubicBezTo>
                    <a:pt x="121939" y="138641"/>
                    <a:pt x="135697" y="139993"/>
                    <a:pt x="148200" y="145162"/>
                  </a:cubicBezTo>
                  <a:cubicBezTo>
                    <a:pt x="160703" y="150330"/>
                    <a:pt x="171388" y="159083"/>
                    <a:pt x="178902" y="170311"/>
                  </a:cubicBezTo>
                  <a:cubicBezTo>
                    <a:pt x="186417" y="181539"/>
                    <a:pt x="190423" y="194739"/>
                    <a:pt x="190415" y="208240"/>
                  </a:cubicBezTo>
                  <a:cubicBezTo>
                    <a:pt x="190403" y="226314"/>
                    <a:pt x="183203" y="243645"/>
                    <a:pt x="170396" y="256430"/>
                  </a:cubicBezTo>
                  <a:cubicBezTo>
                    <a:pt x="157589" y="269214"/>
                    <a:pt x="140220" y="276407"/>
                    <a:pt x="122102" y="276430"/>
                  </a:cubicBezTo>
                  <a:close/>
                  <a:moveTo>
                    <a:pt x="587634" y="90860"/>
                  </a:moveTo>
                  <a:cubicBezTo>
                    <a:pt x="571330" y="90860"/>
                    <a:pt x="562938" y="98495"/>
                    <a:pt x="560805" y="115455"/>
                  </a:cubicBezTo>
                  <a:cubicBezTo>
                    <a:pt x="541906" y="96907"/>
                    <a:pt x="516649" y="86209"/>
                    <a:pt x="490145" y="85525"/>
                  </a:cubicBezTo>
                  <a:cubicBezTo>
                    <a:pt x="424922" y="85525"/>
                    <a:pt x="367522" y="142740"/>
                    <a:pt x="367522" y="207936"/>
                  </a:cubicBezTo>
                  <a:cubicBezTo>
                    <a:pt x="367522" y="273133"/>
                    <a:pt x="424835" y="330348"/>
                    <a:pt x="490145" y="330348"/>
                  </a:cubicBezTo>
                  <a:cubicBezTo>
                    <a:pt x="519626" y="330348"/>
                    <a:pt x="542979" y="321326"/>
                    <a:pt x="557937" y="304322"/>
                  </a:cubicBezTo>
                  <a:cubicBezTo>
                    <a:pt x="556546" y="353642"/>
                    <a:pt x="532715" y="377631"/>
                    <a:pt x="485187" y="377631"/>
                  </a:cubicBezTo>
                  <a:cubicBezTo>
                    <a:pt x="481776" y="377397"/>
                    <a:pt x="478356" y="377900"/>
                    <a:pt x="475153" y="379097"/>
                  </a:cubicBezTo>
                  <a:cubicBezTo>
                    <a:pt x="471950" y="380297"/>
                    <a:pt x="469043" y="382162"/>
                    <a:pt x="466627" y="384576"/>
                  </a:cubicBezTo>
                  <a:cubicBezTo>
                    <a:pt x="464211" y="386986"/>
                    <a:pt x="462338" y="389887"/>
                    <a:pt x="461134" y="393081"/>
                  </a:cubicBezTo>
                  <a:cubicBezTo>
                    <a:pt x="459935" y="396276"/>
                    <a:pt x="459431" y="399688"/>
                    <a:pt x="459665" y="403091"/>
                  </a:cubicBezTo>
                  <a:cubicBezTo>
                    <a:pt x="459665" y="419317"/>
                    <a:pt x="469578" y="428598"/>
                    <a:pt x="486843" y="428598"/>
                  </a:cubicBezTo>
                  <a:cubicBezTo>
                    <a:pt x="577331" y="428598"/>
                    <a:pt x="609423" y="362879"/>
                    <a:pt x="609423" y="306577"/>
                  </a:cubicBezTo>
                  <a:lnTo>
                    <a:pt x="609423" y="113069"/>
                  </a:lnTo>
                  <a:cubicBezTo>
                    <a:pt x="609558" y="110161"/>
                    <a:pt x="609097" y="107254"/>
                    <a:pt x="608059" y="104532"/>
                  </a:cubicBezTo>
                  <a:cubicBezTo>
                    <a:pt x="607020" y="101810"/>
                    <a:pt x="605434" y="99329"/>
                    <a:pt x="603396" y="97246"/>
                  </a:cubicBezTo>
                  <a:cubicBezTo>
                    <a:pt x="601353" y="95162"/>
                    <a:pt x="598907" y="93520"/>
                    <a:pt x="596204" y="92421"/>
                  </a:cubicBezTo>
                  <a:cubicBezTo>
                    <a:pt x="593501" y="91323"/>
                    <a:pt x="590598" y="90791"/>
                    <a:pt x="587678" y="90860"/>
                  </a:cubicBezTo>
                  <a:lnTo>
                    <a:pt x="587634" y="90860"/>
                  </a:lnTo>
                  <a:close/>
                  <a:moveTo>
                    <a:pt x="489015" y="276430"/>
                  </a:moveTo>
                  <a:cubicBezTo>
                    <a:pt x="475483" y="276447"/>
                    <a:pt x="462247" y="272459"/>
                    <a:pt x="450987" y="264970"/>
                  </a:cubicBezTo>
                  <a:cubicBezTo>
                    <a:pt x="439728" y="257480"/>
                    <a:pt x="430945" y="246828"/>
                    <a:pt x="425757" y="234358"/>
                  </a:cubicBezTo>
                  <a:cubicBezTo>
                    <a:pt x="420568" y="221890"/>
                    <a:pt x="419204" y="208165"/>
                    <a:pt x="421837" y="194922"/>
                  </a:cubicBezTo>
                  <a:cubicBezTo>
                    <a:pt x="424470" y="181680"/>
                    <a:pt x="430980" y="169514"/>
                    <a:pt x="440549" y="159964"/>
                  </a:cubicBezTo>
                  <a:cubicBezTo>
                    <a:pt x="450114" y="150415"/>
                    <a:pt x="462308" y="143911"/>
                    <a:pt x="475579" y="141276"/>
                  </a:cubicBezTo>
                  <a:cubicBezTo>
                    <a:pt x="488855" y="138641"/>
                    <a:pt x="502613" y="139993"/>
                    <a:pt x="515115" y="145162"/>
                  </a:cubicBezTo>
                  <a:cubicBezTo>
                    <a:pt x="527617" y="150330"/>
                    <a:pt x="538303" y="159083"/>
                    <a:pt x="545817" y="170311"/>
                  </a:cubicBezTo>
                  <a:cubicBezTo>
                    <a:pt x="553330" y="181539"/>
                    <a:pt x="557337" y="194739"/>
                    <a:pt x="557328" y="208240"/>
                  </a:cubicBezTo>
                  <a:cubicBezTo>
                    <a:pt x="557315" y="226314"/>
                    <a:pt x="550119" y="243645"/>
                    <a:pt x="537308" y="256430"/>
                  </a:cubicBezTo>
                  <a:cubicBezTo>
                    <a:pt x="524502" y="269214"/>
                    <a:pt x="507132" y="276407"/>
                    <a:pt x="489015" y="276430"/>
                  </a:cubicBezTo>
                  <a:close/>
                  <a:moveTo>
                    <a:pt x="1626847" y="89125"/>
                  </a:moveTo>
                  <a:cubicBezTo>
                    <a:pt x="1623531" y="89054"/>
                    <a:pt x="1620233" y="89654"/>
                    <a:pt x="1617152" y="90889"/>
                  </a:cubicBezTo>
                  <a:cubicBezTo>
                    <a:pt x="1614075" y="92125"/>
                    <a:pt x="1611276" y="93969"/>
                    <a:pt x="1608930" y="96313"/>
                  </a:cubicBezTo>
                  <a:cubicBezTo>
                    <a:pt x="1606588" y="98656"/>
                    <a:pt x="1604741" y="101449"/>
                    <a:pt x="1603511" y="104523"/>
                  </a:cubicBezTo>
                  <a:cubicBezTo>
                    <a:pt x="1602277" y="107596"/>
                    <a:pt x="1601681" y="110887"/>
                    <a:pt x="1601760" y="114197"/>
                  </a:cubicBezTo>
                  <a:lnTo>
                    <a:pt x="1601147" y="300721"/>
                  </a:lnTo>
                  <a:cubicBezTo>
                    <a:pt x="1600964" y="304076"/>
                    <a:pt x="1601486" y="307433"/>
                    <a:pt x="1602677" y="310576"/>
                  </a:cubicBezTo>
                  <a:cubicBezTo>
                    <a:pt x="1603867" y="313719"/>
                    <a:pt x="1605701" y="316581"/>
                    <a:pt x="1608061" y="318977"/>
                  </a:cubicBezTo>
                  <a:cubicBezTo>
                    <a:pt x="1610420" y="321373"/>
                    <a:pt x="1613258" y="323252"/>
                    <a:pt x="1616387" y="324492"/>
                  </a:cubicBezTo>
                  <a:cubicBezTo>
                    <a:pt x="1619520" y="325734"/>
                    <a:pt x="1622875" y="326310"/>
                    <a:pt x="1626238" y="326184"/>
                  </a:cubicBezTo>
                  <a:cubicBezTo>
                    <a:pt x="1641978" y="326184"/>
                    <a:pt x="1651764" y="316424"/>
                    <a:pt x="1651764" y="300721"/>
                  </a:cubicBezTo>
                  <a:lnTo>
                    <a:pt x="1652373" y="114197"/>
                  </a:lnTo>
                  <a:cubicBezTo>
                    <a:pt x="1652547" y="110826"/>
                    <a:pt x="1652003" y="107456"/>
                    <a:pt x="1650773" y="104309"/>
                  </a:cubicBezTo>
                  <a:cubicBezTo>
                    <a:pt x="1649548" y="101162"/>
                    <a:pt x="1647666" y="98311"/>
                    <a:pt x="1645255" y="95942"/>
                  </a:cubicBezTo>
                  <a:cubicBezTo>
                    <a:pt x="1642843" y="93574"/>
                    <a:pt x="1639957" y="91741"/>
                    <a:pt x="1636785" y="90566"/>
                  </a:cubicBezTo>
                  <a:cubicBezTo>
                    <a:pt x="1633613" y="89391"/>
                    <a:pt x="1630223" y="88900"/>
                    <a:pt x="1626847" y="89125"/>
                  </a:cubicBezTo>
                  <a:close/>
                  <a:moveTo>
                    <a:pt x="307559" y="88040"/>
                  </a:moveTo>
                  <a:cubicBezTo>
                    <a:pt x="304239" y="87970"/>
                    <a:pt x="300938" y="88570"/>
                    <a:pt x="297857" y="89804"/>
                  </a:cubicBezTo>
                  <a:cubicBezTo>
                    <a:pt x="294776" y="91039"/>
                    <a:pt x="291977" y="92883"/>
                    <a:pt x="289628" y="95226"/>
                  </a:cubicBezTo>
                  <a:cubicBezTo>
                    <a:pt x="287280" y="97568"/>
                    <a:pt x="285432" y="100361"/>
                    <a:pt x="284194" y="103435"/>
                  </a:cubicBezTo>
                  <a:cubicBezTo>
                    <a:pt x="282956" y="106509"/>
                    <a:pt x="282354" y="109801"/>
                    <a:pt x="282425" y="113113"/>
                  </a:cubicBezTo>
                  <a:lnTo>
                    <a:pt x="282425" y="299941"/>
                  </a:lnTo>
                  <a:cubicBezTo>
                    <a:pt x="282241" y="303299"/>
                    <a:pt x="282762" y="306659"/>
                    <a:pt x="283955" y="309806"/>
                  </a:cubicBezTo>
                  <a:cubicBezTo>
                    <a:pt x="285147" y="312952"/>
                    <a:pt x="286986" y="315816"/>
                    <a:pt x="289351" y="318213"/>
                  </a:cubicBezTo>
                  <a:cubicBezTo>
                    <a:pt x="291717" y="320610"/>
                    <a:pt x="294559" y="322487"/>
                    <a:pt x="297694" y="323726"/>
                  </a:cubicBezTo>
                  <a:cubicBezTo>
                    <a:pt x="300829" y="324964"/>
                    <a:pt x="304189" y="325535"/>
                    <a:pt x="307559" y="325403"/>
                  </a:cubicBezTo>
                  <a:cubicBezTo>
                    <a:pt x="323300" y="325403"/>
                    <a:pt x="333040" y="315643"/>
                    <a:pt x="333040" y="299941"/>
                  </a:cubicBezTo>
                  <a:lnTo>
                    <a:pt x="333040" y="113113"/>
                  </a:lnTo>
                  <a:cubicBezTo>
                    <a:pt x="333213" y="109745"/>
                    <a:pt x="332670" y="106379"/>
                    <a:pt x="331445" y="103235"/>
                  </a:cubicBezTo>
                  <a:cubicBezTo>
                    <a:pt x="330221" y="100092"/>
                    <a:pt x="328344" y="97243"/>
                    <a:pt x="325937" y="94875"/>
                  </a:cubicBezTo>
                  <a:cubicBezTo>
                    <a:pt x="323530" y="92507"/>
                    <a:pt x="320649" y="90674"/>
                    <a:pt x="317481" y="89496"/>
                  </a:cubicBezTo>
                  <a:cubicBezTo>
                    <a:pt x="314314" y="88318"/>
                    <a:pt x="310932" y="87822"/>
                    <a:pt x="307559" y="88040"/>
                  </a:cubicBezTo>
                  <a:close/>
                  <a:moveTo>
                    <a:pt x="679474" y="88691"/>
                  </a:moveTo>
                  <a:cubicBezTo>
                    <a:pt x="676154" y="88620"/>
                    <a:pt x="672856" y="89220"/>
                    <a:pt x="669779" y="90455"/>
                  </a:cubicBezTo>
                  <a:cubicBezTo>
                    <a:pt x="666698" y="91691"/>
                    <a:pt x="663904" y="93536"/>
                    <a:pt x="661557" y="95879"/>
                  </a:cubicBezTo>
                  <a:cubicBezTo>
                    <a:pt x="659210" y="98222"/>
                    <a:pt x="657368" y="101015"/>
                    <a:pt x="656134" y="104089"/>
                  </a:cubicBezTo>
                  <a:cubicBezTo>
                    <a:pt x="654904" y="107163"/>
                    <a:pt x="654304" y="110454"/>
                    <a:pt x="654382" y="113763"/>
                  </a:cubicBezTo>
                  <a:lnTo>
                    <a:pt x="654382" y="299941"/>
                  </a:lnTo>
                  <a:cubicBezTo>
                    <a:pt x="654200" y="303296"/>
                    <a:pt x="654717" y="306652"/>
                    <a:pt x="655908" y="309795"/>
                  </a:cubicBezTo>
                  <a:cubicBezTo>
                    <a:pt x="657098" y="312939"/>
                    <a:pt x="658932" y="315800"/>
                    <a:pt x="661296" y="318196"/>
                  </a:cubicBezTo>
                  <a:cubicBezTo>
                    <a:pt x="663656" y="320592"/>
                    <a:pt x="666494" y="322471"/>
                    <a:pt x="669622" y="323712"/>
                  </a:cubicBezTo>
                  <a:cubicBezTo>
                    <a:pt x="672751" y="324953"/>
                    <a:pt x="676106" y="325529"/>
                    <a:pt x="679474" y="325403"/>
                  </a:cubicBezTo>
                  <a:cubicBezTo>
                    <a:pt x="695214" y="325403"/>
                    <a:pt x="705000" y="315643"/>
                    <a:pt x="705000" y="299941"/>
                  </a:cubicBezTo>
                  <a:lnTo>
                    <a:pt x="705000" y="113763"/>
                  </a:lnTo>
                  <a:cubicBezTo>
                    <a:pt x="705191" y="110381"/>
                    <a:pt x="704661" y="106997"/>
                    <a:pt x="703440" y="103835"/>
                  </a:cubicBezTo>
                  <a:cubicBezTo>
                    <a:pt x="702223" y="100672"/>
                    <a:pt x="700346" y="97805"/>
                    <a:pt x="697930" y="95421"/>
                  </a:cubicBezTo>
                  <a:cubicBezTo>
                    <a:pt x="695518" y="93038"/>
                    <a:pt x="692624" y="91194"/>
                    <a:pt x="689443" y="90012"/>
                  </a:cubicBezTo>
                  <a:cubicBezTo>
                    <a:pt x="686257" y="88828"/>
                    <a:pt x="682863" y="88334"/>
                    <a:pt x="679474" y="88561"/>
                  </a:cubicBezTo>
                  <a:lnTo>
                    <a:pt x="679474" y="88691"/>
                  </a:lnTo>
                  <a:close/>
                  <a:moveTo>
                    <a:pt x="836319" y="275996"/>
                  </a:moveTo>
                  <a:cubicBezTo>
                    <a:pt x="819706" y="274608"/>
                    <a:pt x="809446" y="269923"/>
                    <a:pt x="809446" y="250924"/>
                  </a:cubicBezTo>
                  <a:lnTo>
                    <a:pt x="809446" y="143434"/>
                  </a:lnTo>
                  <a:lnTo>
                    <a:pt x="822492" y="143434"/>
                  </a:lnTo>
                  <a:cubicBezTo>
                    <a:pt x="825820" y="143548"/>
                    <a:pt x="829136" y="142980"/>
                    <a:pt x="832234" y="141763"/>
                  </a:cubicBezTo>
                  <a:cubicBezTo>
                    <a:pt x="835333" y="140546"/>
                    <a:pt x="838144" y="138708"/>
                    <a:pt x="840504" y="136361"/>
                  </a:cubicBezTo>
                  <a:cubicBezTo>
                    <a:pt x="842859" y="134014"/>
                    <a:pt x="844706" y="131209"/>
                    <a:pt x="845932" y="128121"/>
                  </a:cubicBezTo>
                  <a:cubicBezTo>
                    <a:pt x="847157" y="125032"/>
                    <a:pt x="847735" y="121725"/>
                    <a:pt x="847622" y="118405"/>
                  </a:cubicBezTo>
                  <a:cubicBezTo>
                    <a:pt x="847622" y="102919"/>
                    <a:pt x="837753" y="92899"/>
                    <a:pt x="822492" y="92899"/>
                  </a:cubicBezTo>
                  <a:lnTo>
                    <a:pt x="809446" y="92899"/>
                  </a:lnTo>
                  <a:lnTo>
                    <a:pt x="809446" y="25577"/>
                  </a:lnTo>
                  <a:cubicBezTo>
                    <a:pt x="809446" y="9874"/>
                    <a:pt x="799660" y="114"/>
                    <a:pt x="783920" y="114"/>
                  </a:cubicBezTo>
                  <a:cubicBezTo>
                    <a:pt x="780557" y="-12"/>
                    <a:pt x="777197" y="565"/>
                    <a:pt x="774069" y="1805"/>
                  </a:cubicBezTo>
                  <a:cubicBezTo>
                    <a:pt x="770940" y="3046"/>
                    <a:pt x="768102" y="4925"/>
                    <a:pt x="765742" y="7321"/>
                  </a:cubicBezTo>
                  <a:cubicBezTo>
                    <a:pt x="763383" y="9717"/>
                    <a:pt x="761545" y="12579"/>
                    <a:pt x="760358" y="15722"/>
                  </a:cubicBezTo>
                  <a:cubicBezTo>
                    <a:pt x="759168" y="18865"/>
                    <a:pt x="758646" y="22222"/>
                    <a:pt x="758829" y="25577"/>
                  </a:cubicBezTo>
                  <a:lnTo>
                    <a:pt x="758829" y="93506"/>
                  </a:lnTo>
                  <a:cubicBezTo>
                    <a:pt x="746613" y="95371"/>
                    <a:pt x="739091" y="104784"/>
                    <a:pt x="739091" y="118405"/>
                  </a:cubicBezTo>
                  <a:cubicBezTo>
                    <a:pt x="738822" y="124221"/>
                    <a:pt x="740677" y="129937"/>
                    <a:pt x="744306" y="134497"/>
                  </a:cubicBezTo>
                  <a:cubicBezTo>
                    <a:pt x="747934" y="139058"/>
                    <a:pt x="753092" y="142155"/>
                    <a:pt x="758829" y="143217"/>
                  </a:cubicBezTo>
                  <a:lnTo>
                    <a:pt x="758829" y="251444"/>
                  </a:lnTo>
                  <a:cubicBezTo>
                    <a:pt x="758829" y="298466"/>
                    <a:pt x="784181" y="325186"/>
                    <a:pt x="828406" y="325186"/>
                  </a:cubicBezTo>
                  <a:cubicBezTo>
                    <a:pt x="846709" y="325186"/>
                    <a:pt x="857626" y="316511"/>
                    <a:pt x="857626" y="301762"/>
                  </a:cubicBezTo>
                  <a:cubicBezTo>
                    <a:pt x="857626" y="287014"/>
                    <a:pt x="849886" y="277211"/>
                    <a:pt x="836363" y="275736"/>
                  </a:cubicBezTo>
                  <a:lnTo>
                    <a:pt x="836319" y="275996"/>
                  </a:lnTo>
                  <a:close/>
                  <a:moveTo>
                    <a:pt x="1181837" y="71"/>
                  </a:moveTo>
                  <a:cubicBezTo>
                    <a:pt x="1178499" y="-77"/>
                    <a:pt x="1175166" y="470"/>
                    <a:pt x="1172055" y="1678"/>
                  </a:cubicBezTo>
                  <a:cubicBezTo>
                    <a:pt x="1168939" y="2886"/>
                    <a:pt x="1166110" y="4728"/>
                    <a:pt x="1163750" y="7087"/>
                  </a:cubicBezTo>
                  <a:cubicBezTo>
                    <a:pt x="1161391" y="9447"/>
                    <a:pt x="1159548" y="12270"/>
                    <a:pt x="1158340" y="15379"/>
                  </a:cubicBezTo>
                  <a:cubicBezTo>
                    <a:pt x="1157136" y="18488"/>
                    <a:pt x="1156593" y="21813"/>
                    <a:pt x="1156750" y="25143"/>
                  </a:cubicBezTo>
                  <a:lnTo>
                    <a:pt x="1156750" y="299941"/>
                  </a:lnTo>
                  <a:cubicBezTo>
                    <a:pt x="1156563" y="303296"/>
                    <a:pt x="1157084" y="306652"/>
                    <a:pt x="1158275" y="309795"/>
                  </a:cubicBezTo>
                  <a:cubicBezTo>
                    <a:pt x="1159466" y="312939"/>
                    <a:pt x="1161300" y="315800"/>
                    <a:pt x="1163659" y="318196"/>
                  </a:cubicBezTo>
                  <a:cubicBezTo>
                    <a:pt x="1166019" y="320592"/>
                    <a:pt x="1168857" y="322471"/>
                    <a:pt x="1171985" y="323712"/>
                  </a:cubicBezTo>
                  <a:cubicBezTo>
                    <a:pt x="1175119" y="324953"/>
                    <a:pt x="1178473" y="325529"/>
                    <a:pt x="1181837" y="325403"/>
                  </a:cubicBezTo>
                  <a:cubicBezTo>
                    <a:pt x="1197581" y="325403"/>
                    <a:pt x="1207363" y="315643"/>
                    <a:pt x="1207363" y="299941"/>
                  </a:cubicBezTo>
                  <a:lnTo>
                    <a:pt x="1207363" y="25143"/>
                  </a:lnTo>
                  <a:cubicBezTo>
                    <a:pt x="1207363" y="9701"/>
                    <a:pt x="1197581" y="71"/>
                    <a:pt x="1181837" y="71"/>
                  </a:cubicBezTo>
                  <a:close/>
                  <a:moveTo>
                    <a:pt x="1329682" y="251184"/>
                  </a:moveTo>
                  <a:cubicBezTo>
                    <a:pt x="1328826" y="249901"/>
                    <a:pt x="1327896" y="248670"/>
                    <a:pt x="1326897" y="247497"/>
                  </a:cubicBezTo>
                  <a:cubicBezTo>
                    <a:pt x="1324576" y="244716"/>
                    <a:pt x="1321952" y="242199"/>
                    <a:pt x="1319070" y="239993"/>
                  </a:cubicBezTo>
                  <a:cubicBezTo>
                    <a:pt x="1318071" y="239255"/>
                    <a:pt x="1317028" y="238518"/>
                    <a:pt x="1315942" y="237824"/>
                  </a:cubicBezTo>
                  <a:cubicBezTo>
                    <a:pt x="1310592" y="234319"/>
                    <a:pt x="1304587" y="231929"/>
                    <a:pt x="1298286" y="230797"/>
                  </a:cubicBezTo>
                  <a:cubicBezTo>
                    <a:pt x="1295626" y="230359"/>
                    <a:pt x="1292936" y="230142"/>
                    <a:pt x="1290242" y="230146"/>
                  </a:cubicBezTo>
                  <a:cubicBezTo>
                    <a:pt x="1282198" y="230133"/>
                    <a:pt x="1274280" y="232163"/>
                    <a:pt x="1267241" y="236045"/>
                  </a:cubicBezTo>
                  <a:cubicBezTo>
                    <a:pt x="1265885" y="236757"/>
                    <a:pt x="1264577" y="237554"/>
                    <a:pt x="1263325" y="238431"/>
                  </a:cubicBezTo>
                  <a:cubicBezTo>
                    <a:pt x="1256833" y="242799"/>
                    <a:pt x="1251514" y="248691"/>
                    <a:pt x="1247838" y="255588"/>
                  </a:cubicBezTo>
                  <a:cubicBezTo>
                    <a:pt x="1244161" y="262486"/>
                    <a:pt x="1242236" y="270179"/>
                    <a:pt x="1242236" y="277992"/>
                  </a:cubicBezTo>
                  <a:cubicBezTo>
                    <a:pt x="1242236" y="285804"/>
                    <a:pt x="1244161" y="293497"/>
                    <a:pt x="1247838" y="300395"/>
                  </a:cubicBezTo>
                  <a:cubicBezTo>
                    <a:pt x="1251514" y="307292"/>
                    <a:pt x="1256833" y="313184"/>
                    <a:pt x="1263325" y="317552"/>
                  </a:cubicBezTo>
                  <a:cubicBezTo>
                    <a:pt x="1264590" y="318413"/>
                    <a:pt x="1265894" y="319210"/>
                    <a:pt x="1267241" y="319938"/>
                  </a:cubicBezTo>
                  <a:cubicBezTo>
                    <a:pt x="1275610" y="324459"/>
                    <a:pt x="1285140" y="326388"/>
                    <a:pt x="1294614" y="325476"/>
                  </a:cubicBezTo>
                  <a:cubicBezTo>
                    <a:pt x="1304087" y="324564"/>
                    <a:pt x="1313074" y="320854"/>
                    <a:pt x="1320418" y="314819"/>
                  </a:cubicBezTo>
                  <a:cubicBezTo>
                    <a:pt x="1322790" y="312872"/>
                    <a:pt x="1324963" y="310692"/>
                    <a:pt x="1326897" y="308312"/>
                  </a:cubicBezTo>
                  <a:cubicBezTo>
                    <a:pt x="1327888" y="307146"/>
                    <a:pt x="1328818" y="305930"/>
                    <a:pt x="1329682" y="304669"/>
                  </a:cubicBezTo>
                  <a:cubicBezTo>
                    <a:pt x="1331377" y="302103"/>
                    <a:pt x="1332833" y="299387"/>
                    <a:pt x="1334028" y="296557"/>
                  </a:cubicBezTo>
                  <a:cubicBezTo>
                    <a:pt x="1337135" y="289250"/>
                    <a:pt x="1338361" y="281286"/>
                    <a:pt x="1337604" y="273386"/>
                  </a:cubicBezTo>
                  <a:cubicBezTo>
                    <a:pt x="1336844" y="265486"/>
                    <a:pt x="1334119" y="257900"/>
                    <a:pt x="1329682" y="251314"/>
                  </a:cubicBezTo>
                </a:path>
              </a:pathLst>
            </a:custGeom>
            <a:grpFill/>
            <a:ln w="4341"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FCDA212A-FAA4-E942-9EEC-4E7AF7F99898}"/>
                </a:ext>
              </a:extLst>
            </p:cNvPr>
            <p:cNvSpPr/>
            <p:nvPr/>
          </p:nvSpPr>
          <p:spPr>
            <a:xfrm>
              <a:off x="9413207" y="4268016"/>
              <a:ext cx="1408602" cy="94482"/>
            </a:xfrm>
            <a:custGeom>
              <a:avLst/>
              <a:gdLst>
                <a:gd name="connsiteX0" fmla="*/ 956896 w 1408602"/>
                <a:gd name="connsiteY0" fmla="*/ 36021 h 94482"/>
                <a:gd name="connsiteX1" fmla="*/ 958117 w 1408602"/>
                <a:gd name="connsiteY1" fmla="*/ 46561 h 94482"/>
                <a:gd name="connsiteX2" fmla="*/ 957639 w 1408602"/>
                <a:gd name="connsiteY2" fmla="*/ 52678 h 94482"/>
                <a:gd name="connsiteX3" fmla="*/ 956548 w 1408602"/>
                <a:gd name="connsiteY3" fmla="*/ 58404 h 94482"/>
                <a:gd name="connsiteX4" fmla="*/ 952202 w 1408602"/>
                <a:gd name="connsiteY4" fmla="*/ 68944 h 94482"/>
                <a:gd name="connsiteX5" fmla="*/ 929940 w 1408602"/>
                <a:gd name="connsiteY5" fmla="*/ 89388 h 94482"/>
                <a:gd name="connsiteX6" fmla="*/ 899782 w 1408602"/>
                <a:gd name="connsiteY6" fmla="*/ 91869 h 94482"/>
                <a:gd name="connsiteX7" fmla="*/ 874460 w 1408602"/>
                <a:gd name="connsiteY7" fmla="*/ 75340 h 94482"/>
                <a:gd name="connsiteX8" fmla="*/ 864669 w 1408602"/>
                <a:gd name="connsiteY8" fmla="*/ 46778 h 94482"/>
                <a:gd name="connsiteX9" fmla="*/ 865625 w 1408602"/>
                <a:gd name="connsiteY9" fmla="*/ 37409 h 94482"/>
                <a:gd name="connsiteX10" fmla="*/ 875220 w 1408602"/>
                <a:gd name="connsiteY10" fmla="*/ 17278 h 94482"/>
                <a:gd name="connsiteX11" fmla="*/ 893107 w 1408602"/>
                <a:gd name="connsiteY11" fmla="*/ 3921 h 94482"/>
                <a:gd name="connsiteX12" fmla="*/ 911241 w 1408602"/>
                <a:gd name="connsiteY12" fmla="*/ 233 h 94482"/>
                <a:gd name="connsiteX13" fmla="*/ 929371 w 1408602"/>
                <a:gd name="connsiteY13" fmla="*/ 3921 h 94482"/>
                <a:gd name="connsiteX14" fmla="*/ 953289 w 1408602"/>
                <a:gd name="connsiteY14" fmla="*/ 26348 h 94482"/>
                <a:gd name="connsiteX15" fmla="*/ 956765 w 1408602"/>
                <a:gd name="connsiteY15" fmla="*/ 36021 h 94482"/>
                <a:gd name="connsiteX16" fmla="*/ 956896 w 1408602"/>
                <a:gd name="connsiteY16" fmla="*/ 36021 h 94482"/>
                <a:gd name="connsiteX17" fmla="*/ 46701 w 1408602"/>
                <a:gd name="connsiteY17" fmla="*/ 17 h 94482"/>
                <a:gd name="connsiteX18" fmla="*/ 20768 w 1408602"/>
                <a:gd name="connsiteY18" fmla="*/ 7840 h 94482"/>
                <a:gd name="connsiteX19" fmla="*/ 3564 w 1408602"/>
                <a:gd name="connsiteY19" fmla="*/ 28720 h 94482"/>
                <a:gd name="connsiteX20" fmla="*/ 891 w 1408602"/>
                <a:gd name="connsiteY20" fmla="*/ 55615 h 94482"/>
                <a:gd name="connsiteX21" fmla="*/ 13651 w 1408602"/>
                <a:gd name="connsiteY21" fmla="*/ 79458 h 94482"/>
                <a:gd name="connsiteX22" fmla="*/ 37539 w 1408602"/>
                <a:gd name="connsiteY22" fmla="*/ 92208 h 94482"/>
                <a:gd name="connsiteX23" fmla="*/ 64503 w 1408602"/>
                <a:gd name="connsiteY23" fmla="*/ 89567 h 94482"/>
                <a:gd name="connsiteX24" fmla="*/ 85449 w 1408602"/>
                <a:gd name="connsiteY24" fmla="*/ 72425 h 94482"/>
                <a:gd name="connsiteX25" fmla="*/ 93316 w 1408602"/>
                <a:gd name="connsiteY25" fmla="*/ 46561 h 94482"/>
                <a:gd name="connsiteX26" fmla="*/ 89791 w 1408602"/>
                <a:gd name="connsiteY26" fmla="*/ 28746 h 94482"/>
                <a:gd name="connsiteX27" fmla="*/ 79691 w 1408602"/>
                <a:gd name="connsiteY27" fmla="*/ 13640 h 94482"/>
                <a:gd name="connsiteX28" fmla="*/ 64557 w 1408602"/>
                <a:gd name="connsiteY28" fmla="*/ 3549 h 94482"/>
                <a:gd name="connsiteX29" fmla="*/ 46701 w 1408602"/>
                <a:gd name="connsiteY29" fmla="*/ 17 h 94482"/>
                <a:gd name="connsiteX30" fmla="*/ 1380165 w 1408602"/>
                <a:gd name="connsiteY30" fmla="*/ 3661 h 94482"/>
                <a:gd name="connsiteX31" fmla="*/ 1375819 w 1408602"/>
                <a:gd name="connsiteY31" fmla="*/ 2099 h 94482"/>
                <a:gd name="connsiteX32" fmla="*/ 1369035 w 1408602"/>
                <a:gd name="connsiteY32" fmla="*/ 581 h 94482"/>
                <a:gd name="connsiteX33" fmla="*/ 1361948 w 1408602"/>
                <a:gd name="connsiteY33" fmla="*/ 17 h 94482"/>
                <a:gd name="connsiteX34" fmla="*/ 1348077 w 1408602"/>
                <a:gd name="connsiteY34" fmla="*/ 2099 h 94482"/>
                <a:gd name="connsiteX35" fmla="*/ 1343727 w 1408602"/>
                <a:gd name="connsiteY35" fmla="*/ 3661 h 94482"/>
                <a:gd name="connsiteX36" fmla="*/ 1325845 w 1408602"/>
                <a:gd name="connsiteY36" fmla="*/ 17035 h 94482"/>
                <a:gd name="connsiteX37" fmla="*/ 1316202 w 1408602"/>
                <a:gd name="connsiteY37" fmla="*/ 37148 h 94482"/>
                <a:gd name="connsiteX38" fmla="*/ 1315289 w 1408602"/>
                <a:gd name="connsiteY38" fmla="*/ 46561 h 94482"/>
                <a:gd name="connsiteX39" fmla="*/ 1328900 w 1408602"/>
                <a:gd name="connsiteY39" fmla="*/ 79442 h 94482"/>
                <a:gd name="connsiteX40" fmla="*/ 1335944 w 1408602"/>
                <a:gd name="connsiteY40" fmla="*/ 85124 h 94482"/>
                <a:gd name="connsiteX41" fmla="*/ 1348120 w 1408602"/>
                <a:gd name="connsiteY41" fmla="*/ 90980 h 94482"/>
                <a:gd name="connsiteX42" fmla="*/ 1369079 w 1408602"/>
                <a:gd name="connsiteY42" fmla="*/ 92542 h 94482"/>
                <a:gd name="connsiteX43" fmla="*/ 1375862 w 1408602"/>
                <a:gd name="connsiteY43" fmla="*/ 90980 h 94482"/>
                <a:gd name="connsiteX44" fmla="*/ 1388034 w 1408602"/>
                <a:gd name="connsiteY44" fmla="*/ 85124 h 94482"/>
                <a:gd name="connsiteX45" fmla="*/ 1394948 w 1408602"/>
                <a:gd name="connsiteY45" fmla="*/ 79442 h 94482"/>
                <a:gd name="connsiteX46" fmla="*/ 1405065 w 1408602"/>
                <a:gd name="connsiteY46" fmla="*/ 64361 h 94482"/>
                <a:gd name="connsiteX47" fmla="*/ 1408602 w 1408602"/>
                <a:gd name="connsiteY47" fmla="*/ 46561 h 94482"/>
                <a:gd name="connsiteX48" fmla="*/ 1407646 w 1408602"/>
                <a:gd name="connsiteY48" fmla="*/ 37148 h 94482"/>
                <a:gd name="connsiteX49" fmla="*/ 1398012 w 1408602"/>
                <a:gd name="connsiteY49" fmla="*/ 17027 h 94482"/>
                <a:gd name="connsiteX50" fmla="*/ 1380121 w 1408602"/>
                <a:gd name="connsiteY50" fmla="*/ 3661 h 94482"/>
                <a:gd name="connsiteX51" fmla="*/ 1380165 w 1408602"/>
                <a:gd name="connsiteY51" fmla="*/ 3661 h 94482"/>
                <a:gd name="connsiteX52" fmla="*/ 431705 w 1408602"/>
                <a:gd name="connsiteY52" fmla="*/ 3661 h 94482"/>
                <a:gd name="connsiteX53" fmla="*/ 411603 w 1408602"/>
                <a:gd name="connsiteY53" fmla="*/ 42 h 94482"/>
                <a:gd name="connsiteX54" fmla="*/ 391882 w 1408602"/>
                <a:gd name="connsiteY54" fmla="*/ 5352 h 94482"/>
                <a:gd name="connsiteX55" fmla="*/ 376338 w 1408602"/>
                <a:gd name="connsiteY55" fmla="*/ 18568 h 94482"/>
                <a:gd name="connsiteX56" fmla="*/ 367956 w 1408602"/>
                <a:gd name="connsiteY56" fmla="*/ 37148 h 94482"/>
                <a:gd name="connsiteX57" fmla="*/ 367000 w 1408602"/>
                <a:gd name="connsiteY57" fmla="*/ 46561 h 94482"/>
                <a:gd name="connsiteX58" fmla="*/ 370128 w 1408602"/>
                <a:gd name="connsiteY58" fmla="*/ 64788 h 94482"/>
                <a:gd name="connsiteX59" fmla="*/ 380132 w 1408602"/>
                <a:gd name="connsiteY59" fmla="*/ 80357 h 94482"/>
                <a:gd name="connsiteX60" fmla="*/ 395428 w 1408602"/>
                <a:gd name="connsiteY60" fmla="*/ 90805 h 94482"/>
                <a:gd name="connsiteX61" fmla="*/ 413593 w 1408602"/>
                <a:gd name="connsiteY61" fmla="*/ 94482 h 94482"/>
                <a:gd name="connsiteX62" fmla="*/ 431762 w 1408602"/>
                <a:gd name="connsiteY62" fmla="*/ 90805 h 94482"/>
                <a:gd name="connsiteX63" fmla="*/ 447054 w 1408602"/>
                <a:gd name="connsiteY63" fmla="*/ 80357 h 94482"/>
                <a:gd name="connsiteX64" fmla="*/ 457057 w 1408602"/>
                <a:gd name="connsiteY64" fmla="*/ 64788 h 94482"/>
                <a:gd name="connsiteX65" fmla="*/ 460186 w 1408602"/>
                <a:gd name="connsiteY65" fmla="*/ 46561 h 94482"/>
                <a:gd name="connsiteX66" fmla="*/ 459230 w 1408602"/>
                <a:gd name="connsiteY66" fmla="*/ 37148 h 94482"/>
                <a:gd name="connsiteX67" fmla="*/ 449609 w 1408602"/>
                <a:gd name="connsiteY67" fmla="*/ 17017 h 94482"/>
                <a:gd name="connsiteX68" fmla="*/ 431705 w 1408602"/>
                <a:gd name="connsiteY68" fmla="*/ 3661 h 94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408602" h="94482">
                  <a:moveTo>
                    <a:pt x="956896" y="36021"/>
                  </a:moveTo>
                  <a:cubicBezTo>
                    <a:pt x="957704" y="39477"/>
                    <a:pt x="958112" y="43013"/>
                    <a:pt x="958117" y="46561"/>
                  </a:cubicBezTo>
                  <a:cubicBezTo>
                    <a:pt x="958099" y="48609"/>
                    <a:pt x="957939" y="50653"/>
                    <a:pt x="957639" y="52678"/>
                  </a:cubicBezTo>
                  <a:cubicBezTo>
                    <a:pt x="957408" y="54609"/>
                    <a:pt x="957048" y="56522"/>
                    <a:pt x="956548" y="58404"/>
                  </a:cubicBezTo>
                  <a:cubicBezTo>
                    <a:pt x="955553" y="62086"/>
                    <a:pt x="954093" y="65628"/>
                    <a:pt x="952202" y="68944"/>
                  </a:cubicBezTo>
                  <a:cubicBezTo>
                    <a:pt x="947270" y="78041"/>
                    <a:pt x="939435" y="85236"/>
                    <a:pt x="929940" y="89388"/>
                  </a:cubicBezTo>
                  <a:cubicBezTo>
                    <a:pt x="920445" y="93541"/>
                    <a:pt x="909829" y="94414"/>
                    <a:pt x="899782" y="91869"/>
                  </a:cubicBezTo>
                  <a:cubicBezTo>
                    <a:pt x="889735" y="89325"/>
                    <a:pt x="880822" y="83507"/>
                    <a:pt x="874460" y="75340"/>
                  </a:cubicBezTo>
                  <a:cubicBezTo>
                    <a:pt x="868102" y="67172"/>
                    <a:pt x="864656" y="57121"/>
                    <a:pt x="864669" y="46778"/>
                  </a:cubicBezTo>
                  <a:cubicBezTo>
                    <a:pt x="864652" y="43630"/>
                    <a:pt x="864973" y="40489"/>
                    <a:pt x="865625" y="37409"/>
                  </a:cubicBezTo>
                  <a:cubicBezTo>
                    <a:pt x="867138" y="30021"/>
                    <a:pt x="870431" y="23112"/>
                    <a:pt x="875220" y="17278"/>
                  </a:cubicBezTo>
                  <a:cubicBezTo>
                    <a:pt x="880005" y="11444"/>
                    <a:pt x="886145" y="6859"/>
                    <a:pt x="893107" y="3921"/>
                  </a:cubicBezTo>
                  <a:cubicBezTo>
                    <a:pt x="898843" y="1487"/>
                    <a:pt x="905009" y="233"/>
                    <a:pt x="911241" y="233"/>
                  </a:cubicBezTo>
                  <a:cubicBezTo>
                    <a:pt x="917472" y="233"/>
                    <a:pt x="923639" y="1487"/>
                    <a:pt x="929371" y="3921"/>
                  </a:cubicBezTo>
                  <a:cubicBezTo>
                    <a:pt x="939809" y="8254"/>
                    <a:pt x="948309" y="16225"/>
                    <a:pt x="953289" y="26348"/>
                  </a:cubicBezTo>
                  <a:cubicBezTo>
                    <a:pt x="954788" y="29439"/>
                    <a:pt x="955957" y="32682"/>
                    <a:pt x="956765" y="36021"/>
                  </a:cubicBezTo>
                  <a:lnTo>
                    <a:pt x="956896" y="36021"/>
                  </a:lnTo>
                  <a:close/>
                  <a:moveTo>
                    <a:pt x="46701" y="17"/>
                  </a:moveTo>
                  <a:cubicBezTo>
                    <a:pt x="37471" y="9"/>
                    <a:pt x="28447" y="2731"/>
                    <a:pt x="20768" y="7840"/>
                  </a:cubicBezTo>
                  <a:cubicBezTo>
                    <a:pt x="13089" y="12949"/>
                    <a:pt x="7102" y="20216"/>
                    <a:pt x="3564" y="28720"/>
                  </a:cubicBezTo>
                  <a:cubicBezTo>
                    <a:pt x="26" y="37224"/>
                    <a:pt x="-904" y="46584"/>
                    <a:pt x="891" y="55615"/>
                  </a:cubicBezTo>
                  <a:cubicBezTo>
                    <a:pt x="2687" y="64647"/>
                    <a:pt x="7127" y="72944"/>
                    <a:pt x="13651" y="79458"/>
                  </a:cubicBezTo>
                  <a:cubicBezTo>
                    <a:pt x="20174" y="85971"/>
                    <a:pt x="28487" y="90409"/>
                    <a:pt x="37539" y="92208"/>
                  </a:cubicBezTo>
                  <a:cubicBezTo>
                    <a:pt x="46592" y="94008"/>
                    <a:pt x="55975" y="93088"/>
                    <a:pt x="64503" y="89567"/>
                  </a:cubicBezTo>
                  <a:cubicBezTo>
                    <a:pt x="73031" y="86045"/>
                    <a:pt x="80321" y="80080"/>
                    <a:pt x="85449" y="72425"/>
                  </a:cubicBezTo>
                  <a:cubicBezTo>
                    <a:pt x="90578" y="64769"/>
                    <a:pt x="93316" y="55769"/>
                    <a:pt x="93316" y="46561"/>
                  </a:cubicBezTo>
                  <a:cubicBezTo>
                    <a:pt x="93327" y="40450"/>
                    <a:pt x="92129" y="34396"/>
                    <a:pt x="89791" y="28746"/>
                  </a:cubicBezTo>
                  <a:cubicBezTo>
                    <a:pt x="87454" y="23097"/>
                    <a:pt x="84021" y="17963"/>
                    <a:pt x="79691" y="13640"/>
                  </a:cubicBezTo>
                  <a:cubicBezTo>
                    <a:pt x="75361" y="9316"/>
                    <a:pt x="70218" y="5887"/>
                    <a:pt x="64557" y="3549"/>
                  </a:cubicBezTo>
                  <a:cubicBezTo>
                    <a:pt x="58896" y="1212"/>
                    <a:pt x="52828" y="12"/>
                    <a:pt x="46701" y="17"/>
                  </a:cubicBezTo>
                  <a:close/>
                  <a:moveTo>
                    <a:pt x="1380165" y="3661"/>
                  </a:moveTo>
                  <a:cubicBezTo>
                    <a:pt x="1378774" y="3097"/>
                    <a:pt x="1377340" y="2577"/>
                    <a:pt x="1375819" y="2099"/>
                  </a:cubicBezTo>
                  <a:cubicBezTo>
                    <a:pt x="1373594" y="1435"/>
                    <a:pt x="1371330" y="928"/>
                    <a:pt x="1369035" y="581"/>
                  </a:cubicBezTo>
                  <a:cubicBezTo>
                    <a:pt x="1366693" y="194"/>
                    <a:pt x="1364321" y="6"/>
                    <a:pt x="1361948" y="17"/>
                  </a:cubicBezTo>
                  <a:cubicBezTo>
                    <a:pt x="1357246" y="18"/>
                    <a:pt x="1352570" y="720"/>
                    <a:pt x="1348077" y="2099"/>
                  </a:cubicBezTo>
                  <a:cubicBezTo>
                    <a:pt x="1346638" y="2577"/>
                    <a:pt x="1345204" y="3097"/>
                    <a:pt x="1343727" y="3661"/>
                  </a:cubicBezTo>
                  <a:cubicBezTo>
                    <a:pt x="1336774" y="6615"/>
                    <a:pt x="1330638" y="11204"/>
                    <a:pt x="1325845" y="17035"/>
                  </a:cubicBezTo>
                  <a:cubicBezTo>
                    <a:pt x="1321052" y="22866"/>
                    <a:pt x="1317745" y="29766"/>
                    <a:pt x="1316202" y="37148"/>
                  </a:cubicBezTo>
                  <a:cubicBezTo>
                    <a:pt x="1315589" y="40249"/>
                    <a:pt x="1315281" y="43402"/>
                    <a:pt x="1315289" y="46561"/>
                  </a:cubicBezTo>
                  <a:cubicBezTo>
                    <a:pt x="1315276" y="58888"/>
                    <a:pt x="1320174" y="70714"/>
                    <a:pt x="1328900" y="79442"/>
                  </a:cubicBezTo>
                  <a:cubicBezTo>
                    <a:pt x="1331072" y="81540"/>
                    <a:pt x="1333432" y="83442"/>
                    <a:pt x="1335944" y="85124"/>
                  </a:cubicBezTo>
                  <a:cubicBezTo>
                    <a:pt x="1339703" y="87641"/>
                    <a:pt x="1343801" y="89613"/>
                    <a:pt x="1348120" y="90980"/>
                  </a:cubicBezTo>
                  <a:cubicBezTo>
                    <a:pt x="1354899" y="93053"/>
                    <a:pt x="1362061" y="93587"/>
                    <a:pt x="1369079" y="92542"/>
                  </a:cubicBezTo>
                  <a:cubicBezTo>
                    <a:pt x="1371373" y="92181"/>
                    <a:pt x="1373638" y="91659"/>
                    <a:pt x="1375862" y="90980"/>
                  </a:cubicBezTo>
                  <a:cubicBezTo>
                    <a:pt x="1380182" y="89623"/>
                    <a:pt x="1384280" y="87651"/>
                    <a:pt x="1388034" y="85124"/>
                  </a:cubicBezTo>
                  <a:cubicBezTo>
                    <a:pt x="1390503" y="83435"/>
                    <a:pt x="1392815" y="81534"/>
                    <a:pt x="1394948" y="79442"/>
                  </a:cubicBezTo>
                  <a:cubicBezTo>
                    <a:pt x="1399285" y="75128"/>
                    <a:pt x="1402723" y="70003"/>
                    <a:pt x="1405065" y="64361"/>
                  </a:cubicBezTo>
                  <a:cubicBezTo>
                    <a:pt x="1407407" y="58718"/>
                    <a:pt x="1408611" y="52669"/>
                    <a:pt x="1408602" y="46561"/>
                  </a:cubicBezTo>
                  <a:cubicBezTo>
                    <a:pt x="1408598" y="43400"/>
                    <a:pt x="1408276" y="40247"/>
                    <a:pt x="1407646" y="37148"/>
                  </a:cubicBezTo>
                  <a:cubicBezTo>
                    <a:pt x="1406112" y="29764"/>
                    <a:pt x="1402809" y="22860"/>
                    <a:pt x="1398012" y="17027"/>
                  </a:cubicBezTo>
                  <a:cubicBezTo>
                    <a:pt x="1393219" y="11196"/>
                    <a:pt x="1387083" y="6609"/>
                    <a:pt x="1380121" y="3661"/>
                  </a:cubicBezTo>
                  <a:lnTo>
                    <a:pt x="1380165" y="3661"/>
                  </a:lnTo>
                  <a:close/>
                  <a:moveTo>
                    <a:pt x="431705" y="3661"/>
                  </a:moveTo>
                  <a:cubicBezTo>
                    <a:pt x="425356" y="986"/>
                    <a:pt x="418490" y="-250"/>
                    <a:pt x="411603" y="42"/>
                  </a:cubicBezTo>
                  <a:cubicBezTo>
                    <a:pt x="404719" y="334"/>
                    <a:pt x="397984" y="2148"/>
                    <a:pt x="391882" y="5352"/>
                  </a:cubicBezTo>
                  <a:cubicBezTo>
                    <a:pt x="385785" y="8555"/>
                    <a:pt x="380475" y="13069"/>
                    <a:pt x="376338" y="18568"/>
                  </a:cubicBezTo>
                  <a:cubicBezTo>
                    <a:pt x="372201" y="24066"/>
                    <a:pt x="369337" y="30413"/>
                    <a:pt x="367956" y="37148"/>
                  </a:cubicBezTo>
                  <a:cubicBezTo>
                    <a:pt x="367308" y="40244"/>
                    <a:pt x="366986" y="43399"/>
                    <a:pt x="367000" y="46561"/>
                  </a:cubicBezTo>
                  <a:cubicBezTo>
                    <a:pt x="366808" y="52785"/>
                    <a:pt x="367873" y="58983"/>
                    <a:pt x="370128" y="64788"/>
                  </a:cubicBezTo>
                  <a:cubicBezTo>
                    <a:pt x="372384" y="70593"/>
                    <a:pt x="375786" y="75887"/>
                    <a:pt x="380132" y="80357"/>
                  </a:cubicBezTo>
                  <a:cubicBezTo>
                    <a:pt x="384477" y="84826"/>
                    <a:pt x="389679" y="88379"/>
                    <a:pt x="395428" y="90805"/>
                  </a:cubicBezTo>
                  <a:cubicBezTo>
                    <a:pt x="401173" y="93232"/>
                    <a:pt x="407353" y="94482"/>
                    <a:pt x="413593" y="94482"/>
                  </a:cubicBezTo>
                  <a:cubicBezTo>
                    <a:pt x="419833" y="94482"/>
                    <a:pt x="426013" y="93232"/>
                    <a:pt x="431762" y="90805"/>
                  </a:cubicBezTo>
                  <a:cubicBezTo>
                    <a:pt x="437507" y="88379"/>
                    <a:pt x="442708" y="84826"/>
                    <a:pt x="447054" y="80357"/>
                  </a:cubicBezTo>
                  <a:cubicBezTo>
                    <a:pt x="451399" y="75887"/>
                    <a:pt x="454802" y="70593"/>
                    <a:pt x="457057" y="64788"/>
                  </a:cubicBezTo>
                  <a:cubicBezTo>
                    <a:pt x="459313" y="58983"/>
                    <a:pt x="460377" y="52785"/>
                    <a:pt x="460186" y="46561"/>
                  </a:cubicBezTo>
                  <a:cubicBezTo>
                    <a:pt x="460178" y="43400"/>
                    <a:pt x="459856" y="40247"/>
                    <a:pt x="459230" y="37148"/>
                  </a:cubicBezTo>
                  <a:cubicBezTo>
                    <a:pt x="457705" y="29759"/>
                    <a:pt x="454402" y="22851"/>
                    <a:pt x="449609" y="17017"/>
                  </a:cubicBezTo>
                  <a:cubicBezTo>
                    <a:pt x="444812" y="11183"/>
                    <a:pt x="438667" y="6600"/>
                    <a:pt x="431705" y="3661"/>
                  </a:cubicBezTo>
                  <a:close/>
                </a:path>
              </a:pathLst>
            </a:custGeom>
            <a:solidFill>
              <a:schemeClr val="accent1"/>
            </a:solidFill>
            <a:ln w="4341" cap="flat">
              <a:noFill/>
              <a:prstDash val="solid"/>
              <a:miter/>
            </a:ln>
          </p:spPr>
          <p:txBody>
            <a:bodyPr rtlCol="0" anchor="ctr"/>
            <a:lstStyle/>
            <a:p>
              <a:endParaRPr lang="en-US"/>
            </a:p>
          </p:txBody>
        </p:sp>
      </p:grpSp>
      <p:sp>
        <p:nvSpPr>
          <p:cNvPr id="13" name="TextBox 11">
            <a:extLst>
              <a:ext uri="{FF2B5EF4-FFF2-40B4-BE49-F238E27FC236}">
                <a16:creationId xmlns:a16="http://schemas.microsoft.com/office/drawing/2014/main" id="{D0836805-1BFA-ED45-9AED-4C3B7921834C}"/>
              </a:ext>
            </a:extLst>
          </p:cNvPr>
          <p:cNvSpPr txBox="1">
            <a:spLocks noChangeArrowheads="1"/>
          </p:cNvSpPr>
          <p:nvPr userDrawn="1"/>
        </p:nvSpPr>
        <p:spPr bwMode="auto">
          <a:xfrm rot="16200000">
            <a:off x="11405015" y="674731"/>
            <a:ext cx="84189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700">
                <a:solidFill>
                  <a:schemeClr val="tx1">
                    <a:lumMod val="65000"/>
                    <a:lumOff val="35000"/>
                  </a:schemeClr>
                </a:solidFill>
                <a:latin typeface="Arial" panose="020B0604020202020204" pitchFamily="34" charset="0"/>
                <a:ea typeface="Segoe UI Historic" panose="020B0502040204020203" pitchFamily="34" charset="0"/>
                <a:cs typeface="Arial" panose="020B0604020202020204" pitchFamily="34" charset="0"/>
              </a:rPr>
              <a:t>© Digital.ai.2023</a:t>
            </a:r>
          </a:p>
        </p:txBody>
      </p:sp>
      <p:sp>
        <p:nvSpPr>
          <p:cNvPr id="4" name="Slide Number Placeholder 3">
            <a:extLst>
              <a:ext uri="{FF2B5EF4-FFF2-40B4-BE49-F238E27FC236}">
                <a16:creationId xmlns:a16="http://schemas.microsoft.com/office/drawing/2014/main" id="{52B24CE4-B66B-B24A-9A81-84CBE7485661}"/>
              </a:ext>
            </a:extLst>
          </p:cNvPr>
          <p:cNvSpPr>
            <a:spLocks noGrp="1"/>
          </p:cNvSpPr>
          <p:nvPr>
            <p:ph type="sldNum" sz="quarter" idx="4"/>
          </p:nvPr>
        </p:nvSpPr>
        <p:spPr>
          <a:xfrm>
            <a:off x="11478928" y="6461563"/>
            <a:ext cx="494015" cy="365125"/>
          </a:xfrm>
          <a:prstGeom prst="rect">
            <a:avLst/>
          </a:prstGeom>
        </p:spPr>
        <p:txBody>
          <a:bodyPr vert="horz" lIns="91440" tIns="45720" rIns="91440" bIns="45720" rtlCol="0" anchor="ctr"/>
          <a:lstStyle>
            <a:lvl1pPr algn="r">
              <a:defRPr sz="700">
                <a:solidFill>
                  <a:schemeClr val="tx1">
                    <a:lumMod val="85000"/>
                    <a:lumOff val="15000"/>
                  </a:schemeClr>
                </a:solidFill>
              </a:defRPr>
            </a:lvl1pPr>
          </a:lstStyle>
          <a:p>
            <a:fld id="{7807D63B-5E22-2649-BDDD-63996CEFF5E5}" type="slidenum">
              <a:rPr lang="en-US" smtClean="0"/>
              <a:pPr/>
              <a:t>‹#›</a:t>
            </a:fld>
            <a:endParaRPr lang="en-US"/>
          </a:p>
        </p:txBody>
      </p:sp>
    </p:spTree>
    <p:extLst>
      <p:ext uri="{BB962C8B-B14F-4D97-AF65-F5344CB8AC3E}">
        <p14:creationId xmlns:p14="http://schemas.microsoft.com/office/powerpoint/2010/main" val="1255596239"/>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rtl="0" eaLnBrk="1" fontAlgn="base" hangingPunct="1">
        <a:lnSpc>
          <a:spcPct val="90000"/>
        </a:lnSpc>
        <a:spcBef>
          <a:spcPct val="0"/>
        </a:spcBef>
        <a:spcAft>
          <a:spcPct val="0"/>
        </a:spcAft>
        <a:defRPr lang="en-US" sz="4000" b="1" i="0" kern="1200" spc="-150" dirty="0">
          <a:solidFill>
            <a:schemeClr val="tx1"/>
          </a:solidFill>
          <a:latin typeface="Arial" panose="020B0604020202020204" pitchFamily="34" charset="0"/>
          <a:ea typeface="+mn-ea"/>
          <a:cs typeface="Arial" panose="020B0604020202020204" pitchFamily="34" charset="0"/>
        </a:defRPr>
      </a:lvl1pPr>
      <a:lvl2pPr algn="l" rtl="0" eaLnBrk="1" fontAlgn="base" hangingPunct="1">
        <a:lnSpc>
          <a:spcPct val="90000"/>
        </a:lnSpc>
        <a:spcBef>
          <a:spcPct val="0"/>
        </a:spcBef>
        <a:spcAft>
          <a:spcPct val="0"/>
        </a:spcAft>
        <a:defRPr sz="3200" b="1">
          <a:solidFill>
            <a:schemeClr val="tx1"/>
          </a:solidFill>
          <a:latin typeface="Corbel" panose="020B0503020204020204" pitchFamily="34" charset="0"/>
          <a:cs typeface="Tahoma" panose="020B0604030504040204" pitchFamily="34" charset="0"/>
        </a:defRPr>
      </a:lvl2pPr>
      <a:lvl3pPr algn="l" rtl="0" eaLnBrk="1" fontAlgn="base" hangingPunct="1">
        <a:lnSpc>
          <a:spcPct val="90000"/>
        </a:lnSpc>
        <a:spcBef>
          <a:spcPct val="0"/>
        </a:spcBef>
        <a:spcAft>
          <a:spcPct val="0"/>
        </a:spcAft>
        <a:defRPr sz="3200" b="1">
          <a:solidFill>
            <a:schemeClr val="tx1"/>
          </a:solidFill>
          <a:latin typeface="Corbel" panose="020B0503020204020204" pitchFamily="34" charset="0"/>
          <a:cs typeface="Tahoma" panose="020B0604030504040204" pitchFamily="34" charset="0"/>
        </a:defRPr>
      </a:lvl3pPr>
      <a:lvl4pPr algn="l" rtl="0" eaLnBrk="1" fontAlgn="base" hangingPunct="1">
        <a:lnSpc>
          <a:spcPct val="90000"/>
        </a:lnSpc>
        <a:spcBef>
          <a:spcPct val="0"/>
        </a:spcBef>
        <a:spcAft>
          <a:spcPct val="0"/>
        </a:spcAft>
        <a:defRPr sz="3200" b="1">
          <a:solidFill>
            <a:schemeClr val="tx1"/>
          </a:solidFill>
          <a:latin typeface="Corbel" panose="020B0503020204020204" pitchFamily="34" charset="0"/>
          <a:cs typeface="Tahoma" panose="020B0604030504040204" pitchFamily="34" charset="0"/>
        </a:defRPr>
      </a:lvl4pPr>
      <a:lvl5pPr algn="l" rtl="0" eaLnBrk="1" fontAlgn="base" hangingPunct="1">
        <a:lnSpc>
          <a:spcPct val="90000"/>
        </a:lnSpc>
        <a:spcBef>
          <a:spcPct val="0"/>
        </a:spcBef>
        <a:spcAft>
          <a:spcPct val="0"/>
        </a:spcAft>
        <a:defRPr sz="3200" b="1">
          <a:solidFill>
            <a:schemeClr val="tx1"/>
          </a:solidFill>
          <a:latin typeface="Corbel" panose="020B0503020204020204" pitchFamily="34" charset="0"/>
          <a:cs typeface="Tahoma" panose="020B0604030504040204" pitchFamily="34" charset="0"/>
        </a:defRPr>
      </a:lvl5pPr>
      <a:lvl6pPr marL="457200" algn="l" rtl="0" eaLnBrk="1" fontAlgn="base" hangingPunct="1">
        <a:lnSpc>
          <a:spcPct val="90000"/>
        </a:lnSpc>
        <a:spcBef>
          <a:spcPct val="0"/>
        </a:spcBef>
        <a:spcAft>
          <a:spcPct val="0"/>
        </a:spcAft>
        <a:defRPr sz="3200" b="1">
          <a:solidFill>
            <a:schemeClr val="tx1"/>
          </a:solidFill>
          <a:latin typeface="Corbel" panose="020B0503020204020204" pitchFamily="34" charset="0"/>
          <a:cs typeface="Tahoma" panose="020B0604030504040204" pitchFamily="34" charset="0"/>
        </a:defRPr>
      </a:lvl6pPr>
      <a:lvl7pPr marL="914400" algn="l" rtl="0" eaLnBrk="1" fontAlgn="base" hangingPunct="1">
        <a:lnSpc>
          <a:spcPct val="90000"/>
        </a:lnSpc>
        <a:spcBef>
          <a:spcPct val="0"/>
        </a:spcBef>
        <a:spcAft>
          <a:spcPct val="0"/>
        </a:spcAft>
        <a:defRPr sz="3200" b="1">
          <a:solidFill>
            <a:schemeClr val="tx1"/>
          </a:solidFill>
          <a:latin typeface="Corbel" panose="020B0503020204020204" pitchFamily="34" charset="0"/>
          <a:cs typeface="Tahoma" panose="020B0604030504040204" pitchFamily="34" charset="0"/>
        </a:defRPr>
      </a:lvl7pPr>
      <a:lvl8pPr marL="1371600" algn="l" rtl="0" eaLnBrk="1" fontAlgn="base" hangingPunct="1">
        <a:lnSpc>
          <a:spcPct val="90000"/>
        </a:lnSpc>
        <a:spcBef>
          <a:spcPct val="0"/>
        </a:spcBef>
        <a:spcAft>
          <a:spcPct val="0"/>
        </a:spcAft>
        <a:defRPr sz="3200" b="1">
          <a:solidFill>
            <a:schemeClr val="tx1"/>
          </a:solidFill>
          <a:latin typeface="Corbel" panose="020B0503020204020204" pitchFamily="34" charset="0"/>
          <a:cs typeface="Tahoma" panose="020B0604030504040204" pitchFamily="34" charset="0"/>
        </a:defRPr>
      </a:lvl8pPr>
      <a:lvl9pPr marL="1828800" algn="l" rtl="0" eaLnBrk="1" fontAlgn="base" hangingPunct="1">
        <a:lnSpc>
          <a:spcPct val="90000"/>
        </a:lnSpc>
        <a:spcBef>
          <a:spcPct val="0"/>
        </a:spcBef>
        <a:spcAft>
          <a:spcPct val="0"/>
        </a:spcAft>
        <a:defRPr sz="3200" b="1">
          <a:solidFill>
            <a:schemeClr val="tx1"/>
          </a:solidFill>
          <a:latin typeface="Corbel" panose="020B0503020204020204" pitchFamily="34" charset="0"/>
          <a:cs typeface="Tahoma" panose="020B0604030504040204" pitchFamily="34" charset="0"/>
        </a:defRPr>
      </a:lvl9pPr>
    </p:titleStyle>
    <p:bodyStyle>
      <a:lvl1pPr marL="344488" indent="-168275" algn="l" rtl="0" eaLnBrk="1" fontAlgn="base" hangingPunct="1">
        <a:spcBef>
          <a:spcPts val="300"/>
        </a:spcBef>
        <a:spcAft>
          <a:spcPts val="1200"/>
        </a:spcAft>
        <a:buClr>
          <a:srgbClr val="649A3D"/>
        </a:buClr>
        <a:buFont typeface="Arial" panose="020B0604020202020204" pitchFamily="34" charset="0"/>
        <a:buChar char="•"/>
        <a:tabLst/>
        <a:defRPr sz="1800" kern="1200">
          <a:solidFill>
            <a:srgbClr val="555555"/>
          </a:solidFill>
          <a:latin typeface="Arial" panose="020B0604020202020204" pitchFamily="34" charset="0"/>
          <a:ea typeface="+mn-ea"/>
          <a:cs typeface="Arial" panose="020B0604020202020204" pitchFamily="34" charset="0"/>
        </a:defRPr>
      </a:lvl1pPr>
      <a:lvl2pPr marL="630238" indent="-168275" algn="l" rtl="0" eaLnBrk="1" fontAlgn="base" hangingPunct="1">
        <a:spcBef>
          <a:spcPts val="300"/>
        </a:spcBef>
        <a:spcAft>
          <a:spcPts val="1200"/>
        </a:spcAft>
        <a:buClr>
          <a:schemeClr val="accent1"/>
        </a:buClr>
        <a:buFont typeface="System Font Regular"/>
        <a:buChar char="-"/>
        <a:tabLst/>
        <a:defRPr sz="1600" kern="1200">
          <a:solidFill>
            <a:srgbClr val="555555"/>
          </a:solidFill>
          <a:latin typeface="Arial" panose="020B0604020202020204" pitchFamily="34" charset="0"/>
          <a:ea typeface="+mn-ea"/>
          <a:cs typeface="Arial" panose="020B0604020202020204" pitchFamily="34" charset="0"/>
        </a:defRPr>
      </a:lvl2pPr>
      <a:lvl3pPr marL="915988" indent="-176213" algn="l" rtl="0" eaLnBrk="1" fontAlgn="base" hangingPunct="1">
        <a:spcBef>
          <a:spcPts val="300"/>
        </a:spcBef>
        <a:spcAft>
          <a:spcPts val="1200"/>
        </a:spcAft>
        <a:buClr>
          <a:schemeClr val="accent1"/>
        </a:buClr>
        <a:buFont typeface="System Font Regular"/>
        <a:buChar char="-"/>
        <a:tabLst/>
        <a:defRPr sz="1400" kern="1200">
          <a:solidFill>
            <a:srgbClr val="555555"/>
          </a:solidFill>
          <a:latin typeface="Arial" panose="020B0604020202020204" pitchFamily="34" charset="0"/>
          <a:ea typeface="+mn-ea"/>
          <a:cs typeface="Arial" panose="020B0604020202020204" pitchFamily="34" charset="0"/>
        </a:defRPr>
      </a:lvl3pPr>
      <a:lvl4pPr marL="1143000" indent="-176213" algn="l" rtl="0" eaLnBrk="1" fontAlgn="base" hangingPunct="1">
        <a:lnSpc>
          <a:spcPct val="90000"/>
        </a:lnSpc>
        <a:spcBef>
          <a:spcPts val="300"/>
        </a:spcBef>
        <a:spcAft>
          <a:spcPts val="900"/>
        </a:spcAft>
        <a:buClr>
          <a:schemeClr val="accent1"/>
        </a:buClr>
        <a:buFont typeface="System Font Regular"/>
        <a:buChar char="-"/>
        <a:tabLst/>
        <a:defRPr sz="1400" kern="1200">
          <a:solidFill>
            <a:srgbClr val="555555"/>
          </a:solidFill>
          <a:latin typeface="Arial" panose="020B0604020202020204" pitchFamily="34" charset="0"/>
          <a:ea typeface="+mn-ea"/>
          <a:cs typeface="Arial" panose="020B0604020202020204" pitchFamily="34" charset="0"/>
        </a:defRPr>
      </a:lvl4pPr>
      <a:lvl5pPr marL="1377950" indent="-168275" algn="l" rtl="0" eaLnBrk="1" fontAlgn="base" hangingPunct="1">
        <a:lnSpc>
          <a:spcPct val="90000"/>
        </a:lnSpc>
        <a:spcBef>
          <a:spcPts val="300"/>
        </a:spcBef>
        <a:spcAft>
          <a:spcPts val="600"/>
        </a:spcAft>
        <a:buClr>
          <a:schemeClr val="accent1"/>
        </a:buClr>
        <a:buFont typeface="System Font Regular"/>
        <a:buChar char="-"/>
        <a:tabLst/>
        <a:defRPr sz="1400" kern="1200">
          <a:solidFill>
            <a:srgbClr val="55555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64.xml"/><Relationship Id="rId5" Type="http://schemas.openxmlformats.org/officeDocument/2006/relationships/image" Target="../media/image20.svg"/><Relationship Id="rId4" Type="http://schemas.openxmlformats.org/officeDocument/2006/relationships/image" Target="../media/image19.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0.xml"/><Relationship Id="rId1" Type="http://schemas.openxmlformats.org/officeDocument/2006/relationships/tags" Target="../tags/tag5.xml"/><Relationship Id="rId6" Type="http://schemas.openxmlformats.org/officeDocument/2006/relationships/hyperlink" Target="https://github.com/digital-ai/release-integration-sdk-workshop" TargetMode="External"/><Relationship Id="rId5" Type="http://schemas.openxmlformats.org/officeDocument/2006/relationships/image" Target="../media/image21.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31.xml"/><Relationship Id="rId4" Type="http://schemas.openxmlformats.org/officeDocument/2006/relationships/image" Target="../media/image20.sv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31.xml"/><Relationship Id="rId4" Type="http://schemas.openxmlformats.org/officeDocument/2006/relationships/image" Target="../media/image20.sv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31.xml"/><Relationship Id="rId4" Type="http://schemas.openxmlformats.org/officeDocument/2006/relationships/image" Target="../media/image20.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D8FCC4-10D3-3F35-7344-4C8D868AD27A}"/>
              </a:ext>
            </a:extLst>
          </p:cNvPr>
          <p:cNvPicPr>
            <a:picLocks noChangeAspect="1"/>
          </p:cNvPicPr>
          <p:nvPr/>
        </p:nvPicPr>
        <p:blipFill rotWithShape="1">
          <a:blip r:embed="rId3">
            <a:extLst>
              <a:ext uri="{28A0092B-C50C-407E-A947-70E740481C1C}">
                <a14:useLocalDpi xmlns:a14="http://schemas.microsoft.com/office/drawing/2010/main"/>
              </a:ext>
            </a:extLst>
          </a:blip>
          <a:srcRect t="665" b="10369"/>
          <a:stretch/>
        </p:blipFill>
        <p:spPr>
          <a:xfrm>
            <a:off x="5027114" y="321727"/>
            <a:ext cx="7164886" cy="6536273"/>
          </a:xfrm>
          <a:prstGeom prst="rect">
            <a:avLst/>
          </a:prstGeom>
        </p:spPr>
      </p:pic>
      <p:sp>
        <p:nvSpPr>
          <p:cNvPr id="5" name="TextBox 4">
            <a:extLst>
              <a:ext uri="{FF2B5EF4-FFF2-40B4-BE49-F238E27FC236}">
                <a16:creationId xmlns:a16="http://schemas.microsoft.com/office/drawing/2014/main" id="{03554386-0422-6D5D-7BCD-C7180F022B2D}"/>
              </a:ext>
            </a:extLst>
          </p:cNvPr>
          <p:cNvSpPr txBox="1"/>
          <p:nvPr/>
        </p:nvSpPr>
        <p:spPr>
          <a:xfrm>
            <a:off x="398924" y="2558265"/>
            <a:ext cx="4628190" cy="1508105"/>
          </a:xfrm>
          <a:prstGeom prst="rect">
            <a:avLst/>
          </a:prstGeom>
          <a:noFill/>
        </p:spPr>
        <p:txBody>
          <a:bodyPr wrap="none" rtlCol="0">
            <a:spAutoFit/>
          </a:bodyPr>
          <a:lstStyle/>
          <a:p>
            <a:pPr algn="l"/>
            <a:r>
              <a:rPr lang="en-NL" i="1">
                <a:latin typeface="Lato" panose="020F0502020204030203" pitchFamily="34" charset="77"/>
              </a:rPr>
              <a:t>Welcome to the </a:t>
            </a:r>
          </a:p>
          <a:p>
            <a:pPr algn="l"/>
            <a:endParaRPr lang="en-NL">
              <a:latin typeface="Lato" panose="020F0502020204030203" pitchFamily="34" charset="77"/>
            </a:endParaRPr>
          </a:p>
          <a:p>
            <a:pPr algn="l"/>
            <a:r>
              <a:rPr lang="en-NL" sz="2800" b="1">
                <a:latin typeface="Lato Black" panose="020F0502020204030203" pitchFamily="34" charset="77"/>
              </a:rPr>
              <a:t>Digital.ai Release </a:t>
            </a:r>
            <a:br>
              <a:rPr lang="en-NL" sz="2800" b="1">
                <a:latin typeface="Lato Black" panose="020F0502020204030203" pitchFamily="34" charset="77"/>
              </a:rPr>
            </a:br>
            <a:r>
              <a:rPr lang="en-NL" sz="2800" b="1">
                <a:latin typeface="Lato Black" panose="020F0502020204030203" pitchFamily="34" charset="77"/>
              </a:rPr>
              <a:t>Integration SDK Workshop</a:t>
            </a:r>
          </a:p>
        </p:txBody>
      </p:sp>
      <p:pic>
        <p:nvPicPr>
          <p:cNvPr id="6" name="Graphic 5">
            <a:extLst>
              <a:ext uri="{FF2B5EF4-FFF2-40B4-BE49-F238E27FC236}">
                <a16:creationId xmlns:a16="http://schemas.microsoft.com/office/drawing/2014/main" id="{07BC9BD4-E29A-0DBF-8135-372CC6E377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57163" y="6308187"/>
            <a:ext cx="381912" cy="381912"/>
          </a:xfrm>
          <a:prstGeom prst="rect">
            <a:avLst/>
          </a:prstGeom>
        </p:spPr>
      </p:pic>
    </p:spTree>
    <p:extLst>
      <p:ext uri="{BB962C8B-B14F-4D97-AF65-F5344CB8AC3E}">
        <p14:creationId xmlns:p14="http://schemas.microsoft.com/office/powerpoint/2010/main" val="3525184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4B703D6-9898-4F62-A403-8C403C0CB8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7" name="Object 6" hidden="1">
                        <a:extLst>
                          <a:ext uri="{FF2B5EF4-FFF2-40B4-BE49-F238E27FC236}">
                            <a16:creationId xmlns:a16="http://schemas.microsoft.com/office/drawing/2014/main" id="{A4B703D6-9898-4F62-A403-8C403C0CB8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6A0E3C8-B1EE-4940-93BB-40D3EEC8A7E0}"/>
              </a:ext>
            </a:extLst>
          </p:cNvPr>
          <p:cNvSpPr>
            <a:spLocks noGrp="1"/>
          </p:cNvSpPr>
          <p:nvPr>
            <p:ph type="title"/>
          </p:nvPr>
        </p:nvSpPr>
        <p:spPr>
          <a:xfrm>
            <a:off x="757423" y="163163"/>
            <a:ext cx="6280375" cy="1421928"/>
          </a:xfrm>
        </p:spPr>
        <p:txBody>
          <a:bodyPr/>
          <a:lstStyle/>
          <a:p>
            <a:r>
              <a:rPr lang="en-US" i="1">
                <a:latin typeface="Lato" panose="020F0502020204030203" pitchFamily="34" charset="77"/>
              </a:rPr>
              <a:t>Let’s create a plugin!</a:t>
            </a:r>
          </a:p>
        </p:txBody>
      </p:sp>
      <p:sp>
        <p:nvSpPr>
          <p:cNvPr id="4" name="TextBox 3">
            <a:extLst>
              <a:ext uri="{FF2B5EF4-FFF2-40B4-BE49-F238E27FC236}">
                <a16:creationId xmlns:a16="http://schemas.microsoft.com/office/drawing/2014/main" id="{99363BF4-4208-49C6-B99C-E07C8DAD96D3}"/>
              </a:ext>
            </a:extLst>
          </p:cNvPr>
          <p:cNvSpPr txBox="1"/>
          <p:nvPr/>
        </p:nvSpPr>
        <p:spPr>
          <a:xfrm>
            <a:off x="757423" y="1708381"/>
            <a:ext cx="7215437" cy="369332"/>
          </a:xfrm>
          <a:prstGeom prst="rect">
            <a:avLst/>
          </a:prstGeom>
          <a:noFill/>
        </p:spPr>
        <p:txBody>
          <a:bodyPr wrap="none" rtlCol="0">
            <a:spAutoFit/>
          </a:bodyPr>
          <a:lstStyle/>
          <a:p>
            <a:pPr algn="l"/>
            <a:r>
              <a:rPr lang="en-NL" dirty="0">
                <a:latin typeface="Lato" panose="020F0502020204030203" pitchFamily="34" charset="77"/>
              </a:rPr>
              <a:t>Go to </a:t>
            </a:r>
            <a:r>
              <a:rPr lang="en-US" dirty="0">
                <a:latin typeface="Lato" panose="020F0502020204030203" pitchFamily="34" charset="77"/>
                <a:hlinkClick r:id="rId6"/>
              </a:rPr>
              <a:t>https://github.com/digital-ai/release-integration-sdk-workshop</a:t>
            </a:r>
            <a:r>
              <a:rPr lang="en-US" dirty="0">
                <a:latin typeface="Lato" panose="020F0502020204030203" pitchFamily="34" charset="77"/>
              </a:rPr>
              <a:t> </a:t>
            </a:r>
            <a:endParaRPr lang="en-NL" dirty="0">
              <a:latin typeface="Lato" panose="020F0502020204030203" pitchFamily="34" charset="77"/>
            </a:endParaRPr>
          </a:p>
        </p:txBody>
      </p:sp>
    </p:spTree>
    <p:extLst>
      <p:ext uri="{BB962C8B-B14F-4D97-AF65-F5344CB8AC3E}">
        <p14:creationId xmlns:p14="http://schemas.microsoft.com/office/powerpoint/2010/main" val="912250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088010D-EE03-A097-D468-19A48D955A7F}"/>
              </a:ext>
            </a:extLst>
          </p:cNvPr>
          <p:cNvSpPr>
            <a:spLocks noGrp="1"/>
          </p:cNvSpPr>
          <p:nvPr>
            <p:ph type="title"/>
          </p:nvPr>
        </p:nvSpPr>
        <p:spPr/>
        <p:txBody>
          <a:bodyPr/>
          <a:lstStyle/>
          <a:p>
            <a:r>
              <a:rPr lang="en-NL">
                <a:latin typeface="Lato" panose="020F0502020204030203" pitchFamily="34" charset="77"/>
              </a:rPr>
              <a:t>Workshop</a:t>
            </a:r>
            <a:br>
              <a:rPr lang="en-NL">
                <a:latin typeface="Lato" panose="020F0502020204030203" pitchFamily="34" charset="77"/>
              </a:rPr>
            </a:br>
            <a:r>
              <a:rPr lang="en-NL">
                <a:latin typeface="Lato" panose="020F0502020204030203" pitchFamily="34" charset="77"/>
              </a:rPr>
              <a:t>Agenda</a:t>
            </a:r>
          </a:p>
        </p:txBody>
      </p:sp>
      <p:sp>
        <p:nvSpPr>
          <p:cNvPr id="2" name="Slide Number Placeholder 1">
            <a:extLst>
              <a:ext uri="{FF2B5EF4-FFF2-40B4-BE49-F238E27FC236}">
                <a16:creationId xmlns:a16="http://schemas.microsoft.com/office/drawing/2014/main" id="{FF048544-05E0-BC56-CD1A-D5D4FC049BE9}"/>
              </a:ext>
            </a:extLst>
          </p:cNvPr>
          <p:cNvSpPr>
            <a:spLocks noGrp="1"/>
          </p:cNvSpPr>
          <p:nvPr>
            <p:ph type="sldNum" sz="quarter" idx="4"/>
          </p:nvPr>
        </p:nvSpPr>
        <p:spPr/>
        <p:txBody>
          <a:bodyPr/>
          <a:lstStyle/>
          <a:p>
            <a:fld id="{7807D63B-5E22-2649-BDDD-63996CEFF5E5}" type="slidenum">
              <a:rPr lang="en-US" smtClean="0"/>
              <a:pPr/>
              <a:t>2</a:t>
            </a:fld>
            <a:endParaRPr lang="en-US" dirty="0"/>
          </a:p>
        </p:txBody>
      </p:sp>
      <p:sp>
        <p:nvSpPr>
          <p:cNvPr id="6" name="Content Placeholder 5">
            <a:extLst>
              <a:ext uri="{FF2B5EF4-FFF2-40B4-BE49-F238E27FC236}">
                <a16:creationId xmlns:a16="http://schemas.microsoft.com/office/drawing/2014/main" id="{3829E0A5-832B-3A26-DCD3-B32561A43562}"/>
              </a:ext>
            </a:extLst>
          </p:cNvPr>
          <p:cNvSpPr>
            <a:spLocks noGrp="1"/>
          </p:cNvSpPr>
          <p:nvPr>
            <p:ph sz="quarter" idx="17"/>
          </p:nvPr>
        </p:nvSpPr>
        <p:spPr>
          <a:xfrm>
            <a:off x="5102225" y="441789"/>
            <a:ext cx="6668117" cy="5917914"/>
          </a:xfrm>
        </p:spPr>
        <p:txBody>
          <a:bodyPr anchor="ctr"/>
          <a:lstStyle/>
          <a:p>
            <a:r>
              <a:rPr lang="en-NL" i="1">
                <a:latin typeface="Lato" panose="020F0502020204030203" pitchFamily="34" charset="77"/>
              </a:rPr>
              <a:t>Introduction</a:t>
            </a:r>
          </a:p>
          <a:p>
            <a:r>
              <a:rPr lang="en-NL">
                <a:latin typeface="Lato" panose="020F0502020204030203" pitchFamily="34" charset="77"/>
              </a:rPr>
              <a:t>Part 1 – Hello World!</a:t>
            </a:r>
          </a:p>
          <a:p>
            <a:r>
              <a:rPr lang="en-NL">
                <a:latin typeface="Lato" panose="020F0502020204030203" pitchFamily="34" charset="77"/>
              </a:rPr>
              <a:t>Part 2 – Create your own task</a:t>
            </a:r>
          </a:p>
          <a:p>
            <a:r>
              <a:rPr lang="en-NL">
                <a:latin typeface="Lato" panose="020F0502020204030203" pitchFamily="34" charset="77"/>
              </a:rPr>
              <a:t>Part 3 – Connect to Kubernetes (optional)</a:t>
            </a:r>
          </a:p>
        </p:txBody>
      </p:sp>
    </p:spTree>
    <p:extLst>
      <p:ext uri="{BB962C8B-B14F-4D97-AF65-F5344CB8AC3E}">
        <p14:creationId xmlns:p14="http://schemas.microsoft.com/office/powerpoint/2010/main" val="2479746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5421614-BA6C-45CC-6930-80E139B8432A}"/>
              </a:ext>
            </a:extLst>
          </p:cNvPr>
          <p:cNvSpPr>
            <a:spLocks noGrp="1"/>
          </p:cNvSpPr>
          <p:nvPr>
            <p:ph type="ftr" sz="quarter" idx="10"/>
          </p:nvPr>
        </p:nvSpPr>
        <p:spPr/>
        <p:txBody>
          <a:bodyPr/>
          <a:lstStyle/>
          <a:p>
            <a:endParaRPr lang="en-US" dirty="0"/>
          </a:p>
        </p:txBody>
      </p:sp>
      <p:sp>
        <p:nvSpPr>
          <p:cNvPr id="3" name="Title 2">
            <a:extLst>
              <a:ext uri="{FF2B5EF4-FFF2-40B4-BE49-F238E27FC236}">
                <a16:creationId xmlns:a16="http://schemas.microsoft.com/office/drawing/2014/main" id="{8BAB0319-7B6D-FE88-4841-FA29C5EBA3A4}"/>
              </a:ext>
            </a:extLst>
          </p:cNvPr>
          <p:cNvSpPr>
            <a:spLocks noGrp="1"/>
          </p:cNvSpPr>
          <p:nvPr>
            <p:ph type="title"/>
          </p:nvPr>
        </p:nvSpPr>
        <p:spPr/>
        <p:txBody>
          <a:bodyPr/>
          <a:lstStyle/>
          <a:p>
            <a:r>
              <a:rPr lang="en-NL">
                <a:latin typeface="Lato" panose="020F0502020204030203" pitchFamily="34" charset="77"/>
              </a:rPr>
              <a:t>Limitations of current plugin model</a:t>
            </a:r>
          </a:p>
        </p:txBody>
      </p:sp>
      <p:sp>
        <p:nvSpPr>
          <p:cNvPr id="7" name="Content Placeholder 6">
            <a:extLst>
              <a:ext uri="{FF2B5EF4-FFF2-40B4-BE49-F238E27FC236}">
                <a16:creationId xmlns:a16="http://schemas.microsoft.com/office/drawing/2014/main" id="{A489F5B9-7E72-5580-C7F0-BAD80B3FA9F6}"/>
              </a:ext>
            </a:extLst>
          </p:cNvPr>
          <p:cNvSpPr>
            <a:spLocks noGrp="1"/>
          </p:cNvSpPr>
          <p:nvPr>
            <p:ph sz="quarter" idx="13"/>
          </p:nvPr>
        </p:nvSpPr>
        <p:spPr/>
        <p:txBody>
          <a:bodyPr/>
          <a:lstStyle/>
          <a:p>
            <a:pPr marL="176213" indent="0">
              <a:buNone/>
            </a:pPr>
            <a:endParaRPr lang="en-NL">
              <a:latin typeface="Lato" panose="020F0502020204030203" pitchFamily="34" charset="77"/>
            </a:endParaRPr>
          </a:p>
          <a:p>
            <a:r>
              <a:rPr lang="en-NL">
                <a:latin typeface="Lato" panose="020F0502020204030203" pitchFamily="34" charset="77"/>
              </a:rPr>
              <a:t>Outdated version of Python (2.7)</a:t>
            </a:r>
          </a:p>
          <a:p>
            <a:r>
              <a:rPr lang="en-NL">
                <a:latin typeface="Lato" panose="020F0502020204030203" pitchFamily="34" charset="77"/>
              </a:rPr>
              <a:t>Difficult to add third-party libraries</a:t>
            </a:r>
          </a:p>
          <a:p>
            <a:r>
              <a:rPr lang="en-NL">
                <a:latin typeface="Lato" panose="020F0502020204030203" pitchFamily="34" charset="77"/>
              </a:rPr>
              <a:t>No support for other languages</a:t>
            </a:r>
          </a:p>
          <a:p>
            <a:r>
              <a:rPr lang="en-NL">
                <a:latin typeface="Lato" panose="020F0502020204030203" pitchFamily="34" charset="77"/>
              </a:rPr>
              <a:t>No well-defined develop-test-deploy cycle</a:t>
            </a:r>
          </a:p>
          <a:p>
            <a:r>
              <a:rPr lang="en-NL">
                <a:latin typeface="Lato" panose="020F0502020204030203" pitchFamily="34" charset="77"/>
              </a:rPr>
              <a:t>Installing plugins is cumbersome</a:t>
            </a:r>
          </a:p>
          <a:p>
            <a:endParaRPr lang="en-NL">
              <a:latin typeface="Lato" panose="020F0502020204030203" pitchFamily="34" charset="77"/>
            </a:endParaRPr>
          </a:p>
          <a:p>
            <a:pPr marL="176213" indent="0">
              <a:buNone/>
            </a:pPr>
            <a:endParaRPr lang="en-NL">
              <a:latin typeface="Lato" panose="020F0502020204030203" pitchFamily="34" charset="77"/>
            </a:endParaRPr>
          </a:p>
        </p:txBody>
      </p:sp>
      <p:sp>
        <p:nvSpPr>
          <p:cNvPr id="5" name="Slide Number Placeholder 4">
            <a:extLst>
              <a:ext uri="{FF2B5EF4-FFF2-40B4-BE49-F238E27FC236}">
                <a16:creationId xmlns:a16="http://schemas.microsoft.com/office/drawing/2014/main" id="{1A2B60B7-CE77-6843-0FDC-A6C2152A2659}"/>
              </a:ext>
            </a:extLst>
          </p:cNvPr>
          <p:cNvSpPr>
            <a:spLocks noGrp="1"/>
          </p:cNvSpPr>
          <p:nvPr>
            <p:ph type="sldNum" sz="quarter" idx="4294967295"/>
          </p:nvPr>
        </p:nvSpPr>
        <p:spPr>
          <a:xfrm>
            <a:off x="9448800" y="6505575"/>
            <a:ext cx="2743200" cy="365125"/>
          </a:xfrm>
          <a:prstGeom prst="rect">
            <a:avLst/>
          </a:prstGeom>
        </p:spPr>
        <p:txBody>
          <a:bodyPr/>
          <a:lstStyle/>
          <a:p>
            <a:fld id="{693D370C-058D-F24E-8416-E454F8EEB994}" type="slidenum">
              <a:rPr lang="en-US" smtClean="0"/>
              <a:pPr/>
              <a:t>3</a:t>
            </a:fld>
            <a:endParaRPr lang="en-US" dirty="0"/>
          </a:p>
        </p:txBody>
      </p:sp>
    </p:spTree>
    <p:extLst>
      <p:ext uri="{BB962C8B-B14F-4D97-AF65-F5344CB8AC3E}">
        <p14:creationId xmlns:p14="http://schemas.microsoft.com/office/powerpoint/2010/main" val="4251751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5421614-BA6C-45CC-6930-80E139B8432A}"/>
              </a:ext>
            </a:extLst>
          </p:cNvPr>
          <p:cNvSpPr>
            <a:spLocks noGrp="1"/>
          </p:cNvSpPr>
          <p:nvPr>
            <p:ph type="ftr" sz="quarter" idx="10"/>
          </p:nvPr>
        </p:nvSpPr>
        <p:spPr/>
        <p:txBody>
          <a:bodyPr/>
          <a:lstStyle/>
          <a:p>
            <a:endParaRPr lang="en-US" dirty="0"/>
          </a:p>
        </p:txBody>
      </p:sp>
      <p:sp>
        <p:nvSpPr>
          <p:cNvPr id="3" name="Title 2">
            <a:extLst>
              <a:ext uri="{FF2B5EF4-FFF2-40B4-BE49-F238E27FC236}">
                <a16:creationId xmlns:a16="http://schemas.microsoft.com/office/drawing/2014/main" id="{8BAB0319-7B6D-FE88-4841-FA29C5EBA3A4}"/>
              </a:ext>
            </a:extLst>
          </p:cNvPr>
          <p:cNvSpPr>
            <a:spLocks noGrp="1"/>
          </p:cNvSpPr>
          <p:nvPr>
            <p:ph type="title"/>
          </p:nvPr>
        </p:nvSpPr>
        <p:spPr/>
        <p:txBody>
          <a:bodyPr/>
          <a:lstStyle/>
          <a:p>
            <a:r>
              <a:rPr lang="en-NL" dirty="0">
                <a:latin typeface="Lato" panose="020F0502020204030203" pitchFamily="34" charset="77"/>
              </a:rPr>
              <a:t>What’s new?</a:t>
            </a:r>
          </a:p>
        </p:txBody>
      </p:sp>
      <p:sp>
        <p:nvSpPr>
          <p:cNvPr id="7" name="Content Placeholder 6">
            <a:extLst>
              <a:ext uri="{FF2B5EF4-FFF2-40B4-BE49-F238E27FC236}">
                <a16:creationId xmlns:a16="http://schemas.microsoft.com/office/drawing/2014/main" id="{A489F5B9-7E72-5580-C7F0-BAD80B3FA9F6}"/>
              </a:ext>
            </a:extLst>
          </p:cNvPr>
          <p:cNvSpPr>
            <a:spLocks noGrp="1"/>
          </p:cNvSpPr>
          <p:nvPr>
            <p:ph sz="quarter" idx="13"/>
          </p:nvPr>
        </p:nvSpPr>
        <p:spPr/>
        <p:txBody>
          <a:bodyPr/>
          <a:lstStyle/>
          <a:p>
            <a:pPr marL="176213" indent="0">
              <a:buNone/>
            </a:pPr>
            <a:r>
              <a:rPr lang="en-NL" b="1" dirty="0">
                <a:highlight>
                  <a:srgbClr val="FFFF00"/>
                </a:highlight>
                <a:latin typeface="Lato" panose="020F0502020204030203" pitchFamily="34" charset="77"/>
              </a:rPr>
              <a:t>Integration plugins can be </a:t>
            </a:r>
            <a:r>
              <a:rPr lang="en-NL" b="1" u="sng" dirty="0">
                <a:highlight>
                  <a:srgbClr val="FFFF00"/>
                </a:highlight>
                <a:latin typeface="Lato" panose="020F0502020204030203" pitchFamily="34" charset="77"/>
              </a:rPr>
              <a:t>containers</a:t>
            </a:r>
            <a:br>
              <a:rPr lang="en-NL" b="1" i="1" dirty="0">
                <a:latin typeface="Lato" panose="020F0502020204030203" pitchFamily="34" charset="77"/>
              </a:rPr>
            </a:br>
            <a:endParaRPr lang="en-NL" dirty="0">
              <a:latin typeface="Lato" panose="020F0502020204030203" pitchFamily="34" charset="77"/>
            </a:endParaRPr>
          </a:p>
          <a:p>
            <a:r>
              <a:rPr lang="en-NL" dirty="0">
                <a:latin typeface="Lato" panose="020F0502020204030203" pitchFamily="34" charset="77"/>
              </a:rPr>
              <a:t>Run outside of JVM process</a:t>
            </a:r>
          </a:p>
          <a:p>
            <a:pPr lvl="1"/>
            <a:r>
              <a:rPr lang="en-NL" dirty="0">
                <a:latin typeface="Lato" panose="020F0502020204030203" pitchFamily="34" charset="77"/>
              </a:rPr>
              <a:t>Process isolation</a:t>
            </a:r>
          </a:p>
          <a:p>
            <a:pPr lvl="1"/>
            <a:r>
              <a:rPr lang="en-NL" dirty="0">
                <a:latin typeface="Lato" panose="020F0502020204030203" pitchFamily="34" charset="77"/>
              </a:rPr>
              <a:t>Network isolation</a:t>
            </a:r>
          </a:p>
          <a:p>
            <a:pPr lvl="1"/>
            <a:r>
              <a:rPr lang="en-NL" dirty="0">
                <a:latin typeface="Lato" panose="020F0502020204030203" pitchFamily="34" charset="77"/>
              </a:rPr>
              <a:t>Scalable</a:t>
            </a:r>
          </a:p>
          <a:p>
            <a:r>
              <a:rPr lang="en-NL" dirty="0">
                <a:latin typeface="Lato" panose="020F0502020204030203" pitchFamily="34" charset="77"/>
              </a:rPr>
              <a:t>Use any language or framework</a:t>
            </a:r>
          </a:p>
          <a:p>
            <a:r>
              <a:rPr lang="en-NL" dirty="0">
                <a:latin typeface="Lato" panose="020F0502020204030203" pitchFamily="34" charset="77"/>
              </a:rPr>
              <a:t>SDK for Python 3</a:t>
            </a:r>
          </a:p>
          <a:p>
            <a:r>
              <a:rPr lang="en-NL" dirty="0">
                <a:latin typeface="Lato" panose="020F0502020204030203" pitchFamily="34" charset="77"/>
              </a:rPr>
              <a:t>Works like any other task in Release</a:t>
            </a:r>
          </a:p>
          <a:p>
            <a:endParaRPr lang="en-NL" dirty="0">
              <a:latin typeface="Lato" panose="020F0502020204030203" pitchFamily="34" charset="77"/>
            </a:endParaRPr>
          </a:p>
          <a:p>
            <a:pPr marL="176213" indent="0">
              <a:buNone/>
            </a:pPr>
            <a:r>
              <a:rPr lang="en-NL" i="1" dirty="0">
                <a:latin typeface="Lato" panose="020F0502020204030203" pitchFamily="34" charset="77"/>
              </a:rPr>
              <a:t>The Digital.ai Release Integration SDK is in Tech Preview in 23.1</a:t>
            </a:r>
          </a:p>
        </p:txBody>
      </p:sp>
      <p:sp>
        <p:nvSpPr>
          <p:cNvPr id="5" name="Slide Number Placeholder 4">
            <a:extLst>
              <a:ext uri="{FF2B5EF4-FFF2-40B4-BE49-F238E27FC236}">
                <a16:creationId xmlns:a16="http://schemas.microsoft.com/office/drawing/2014/main" id="{1A2B60B7-CE77-6843-0FDC-A6C2152A2659}"/>
              </a:ext>
            </a:extLst>
          </p:cNvPr>
          <p:cNvSpPr>
            <a:spLocks noGrp="1"/>
          </p:cNvSpPr>
          <p:nvPr>
            <p:ph type="sldNum" sz="quarter" idx="4294967295"/>
          </p:nvPr>
        </p:nvSpPr>
        <p:spPr>
          <a:xfrm>
            <a:off x="9448800" y="6505575"/>
            <a:ext cx="2743200" cy="365125"/>
          </a:xfrm>
          <a:prstGeom prst="rect">
            <a:avLst/>
          </a:prstGeom>
        </p:spPr>
        <p:txBody>
          <a:bodyPr/>
          <a:lstStyle/>
          <a:p>
            <a:fld id="{693D370C-058D-F24E-8416-E454F8EEB994}" type="slidenum">
              <a:rPr lang="en-US" smtClean="0"/>
              <a:pPr/>
              <a:t>4</a:t>
            </a:fld>
            <a:endParaRPr lang="en-US" dirty="0"/>
          </a:p>
        </p:txBody>
      </p:sp>
    </p:spTree>
    <p:extLst>
      <p:ext uri="{BB962C8B-B14F-4D97-AF65-F5344CB8AC3E}">
        <p14:creationId xmlns:p14="http://schemas.microsoft.com/office/powerpoint/2010/main" val="832545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42F4C3-5DF4-E8B6-95D9-DF9D61A895AD}"/>
              </a:ext>
            </a:extLst>
          </p:cNvPr>
          <p:cNvSpPr>
            <a:spLocks noGrp="1"/>
          </p:cNvSpPr>
          <p:nvPr>
            <p:ph type="title"/>
          </p:nvPr>
        </p:nvSpPr>
        <p:spPr/>
        <p:txBody>
          <a:bodyPr/>
          <a:lstStyle/>
          <a:p>
            <a:r>
              <a:rPr lang="en-NL" spc="0">
                <a:latin typeface="Lato" panose="020F0502020204030203" pitchFamily="34" charset="77"/>
              </a:rPr>
              <a:t>Digital.ai Release – Current plugin architecture</a:t>
            </a:r>
          </a:p>
        </p:txBody>
      </p:sp>
      <p:sp>
        <p:nvSpPr>
          <p:cNvPr id="8" name="Rounded Rectangle 7">
            <a:extLst>
              <a:ext uri="{FF2B5EF4-FFF2-40B4-BE49-F238E27FC236}">
                <a16:creationId xmlns:a16="http://schemas.microsoft.com/office/drawing/2014/main" id="{625F8E52-0F92-DBBA-C66C-633F88DD2A0A}"/>
              </a:ext>
            </a:extLst>
          </p:cNvPr>
          <p:cNvSpPr/>
          <p:nvPr/>
        </p:nvSpPr>
        <p:spPr>
          <a:xfrm>
            <a:off x="1828800" y="2123090"/>
            <a:ext cx="2186152" cy="3079531"/>
          </a:xfrm>
          <a:prstGeom prst="roundRect">
            <a:avLst/>
          </a:prstGeom>
          <a:solidFill>
            <a:schemeClr val="accent3">
              <a:lumMod val="40000"/>
              <a:lumOff val="60000"/>
            </a:schemeClr>
          </a:solidFill>
          <a:ln w="25400">
            <a:solidFill>
              <a:schemeClr val="accent3">
                <a:lumMod val="50000"/>
              </a:schemeClr>
            </a:solidFill>
          </a:ln>
        </p:spPr>
        <p:txBody>
          <a:bodyPr wrap="none" rtlCol="0" anchor="ctr">
            <a:spAutoFit/>
          </a:bodyPr>
          <a:lstStyle/>
          <a:p>
            <a:pPr algn="l"/>
            <a:endParaRPr lang="en-NL">
              <a:latin typeface="+mj-lt"/>
            </a:endParaRPr>
          </a:p>
        </p:txBody>
      </p:sp>
      <p:sp>
        <p:nvSpPr>
          <p:cNvPr id="9" name="TextBox 8">
            <a:extLst>
              <a:ext uri="{FF2B5EF4-FFF2-40B4-BE49-F238E27FC236}">
                <a16:creationId xmlns:a16="http://schemas.microsoft.com/office/drawing/2014/main" id="{75C8EDB8-7B61-E0D7-2B6A-BFCC2933A9D3}"/>
              </a:ext>
            </a:extLst>
          </p:cNvPr>
          <p:cNvSpPr txBox="1"/>
          <p:nvPr/>
        </p:nvSpPr>
        <p:spPr>
          <a:xfrm>
            <a:off x="2367077" y="2327525"/>
            <a:ext cx="1109599" cy="646331"/>
          </a:xfrm>
          <a:prstGeom prst="rect">
            <a:avLst/>
          </a:prstGeom>
          <a:noFill/>
        </p:spPr>
        <p:txBody>
          <a:bodyPr wrap="none" rtlCol="0">
            <a:spAutoFit/>
          </a:bodyPr>
          <a:lstStyle/>
          <a:p>
            <a:pPr algn="ctr"/>
            <a:r>
              <a:rPr lang="en-US" b="1" dirty="0">
                <a:latin typeface="Lato" panose="020F0502020204030203" pitchFamily="34" charset="77"/>
              </a:rPr>
              <a:t>Digital.ai</a:t>
            </a:r>
            <a:br>
              <a:rPr lang="en-US" b="1" dirty="0">
                <a:latin typeface="Lato" panose="020F0502020204030203" pitchFamily="34" charset="77"/>
              </a:rPr>
            </a:br>
            <a:r>
              <a:rPr lang="en-US" b="1" dirty="0">
                <a:latin typeface="Lato" panose="020F0502020204030203" pitchFamily="34" charset="77"/>
              </a:rPr>
              <a:t>Release</a:t>
            </a:r>
          </a:p>
        </p:txBody>
      </p:sp>
      <p:sp>
        <p:nvSpPr>
          <p:cNvPr id="10" name="Rounded Rectangle 9">
            <a:extLst>
              <a:ext uri="{FF2B5EF4-FFF2-40B4-BE49-F238E27FC236}">
                <a16:creationId xmlns:a16="http://schemas.microsoft.com/office/drawing/2014/main" id="{E41A5445-4C4F-16D2-DC25-6B5F25EEA5CF}"/>
              </a:ext>
            </a:extLst>
          </p:cNvPr>
          <p:cNvSpPr/>
          <p:nvPr/>
        </p:nvSpPr>
        <p:spPr>
          <a:xfrm>
            <a:off x="2037425" y="4042488"/>
            <a:ext cx="769294" cy="439457"/>
          </a:xfrm>
          <a:prstGeom prst="roundRect">
            <a:avLst/>
          </a:prstGeom>
          <a:solidFill>
            <a:schemeClr val="accent6">
              <a:lumMod val="40000"/>
              <a:lumOff val="60000"/>
            </a:schemeClr>
          </a:solidFill>
          <a:ln w="25400">
            <a:solidFill>
              <a:schemeClr val="accent6">
                <a:lumMod val="50000"/>
              </a:schemeClr>
            </a:solidFill>
          </a:ln>
        </p:spPr>
        <p:txBody>
          <a:bodyPr wrap="none" lIns="180000" tIns="90000" rIns="180000" bIns="90000" rtlCol="0" anchor="ctr">
            <a:spAutoFit/>
          </a:bodyPr>
          <a:lstStyle/>
          <a:p>
            <a:pPr algn="l"/>
            <a:r>
              <a:rPr lang="en-NL" sz="1400">
                <a:latin typeface="Lato" panose="020F0502020204030203" pitchFamily="34" charset="77"/>
              </a:rPr>
              <a:t>Task</a:t>
            </a:r>
          </a:p>
        </p:txBody>
      </p:sp>
      <p:sp>
        <p:nvSpPr>
          <p:cNvPr id="11" name="Rounded Rectangle 10">
            <a:extLst>
              <a:ext uri="{FF2B5EF4-FFF2-40B4-BE49-F238E27FC236}">
                <a16:creationId xmlns:a16="http://schemas.microsoft.com/office/drawing/2014/main" id="{5CCAF482-20F7-9487-578E-7D7D6D74E98E}"/>
              </a:ext>
            </a:extLst>
          </p:cNvPr>
          <p:cNvSpPr/>
          <p:nvPr/>
        </p:nvSpPr>
        <p:spPr>
          <a:xfrm>
            <a:off x="2998691" y="4042488"/>
            <a:ext cx="769294" cy="439457"/>
          </a:xfrm>
          <a:prstGeom prst="roundRect">
            <a:avLst/>
          </a:prstGeom>
          <a:solidFill>
            <a:schemeClr val="accent6">
              <a:lumMod val="40000"/>
              <a:lumOff val="60000"/>
            </a:schemeClr>
          </a:solidFill>
          <a:ln w="25400">
            <a:solidFill>
              <a:schemeClr val="accent6">
                <a:lumMod val="50000"/>
              </a:schemeClr>
            </a:solidFill>
          </a:ln>
        </p:spPr>
        <p:txBody>
          <a:bodyPr wrap="none" lIns="180000" tIns="90000" rIns="180000" bIns="90000" rtlCol="0" anchor="ctr">
            <a:spAutoFit/>
          </a:bodyPr>
          <a:lstStyle/>
          <a:p>
            <a:pPr algn="l"/>
            <a:r>
              <a:rPr lang="en-NL" sz="1400">
                <a:latin typeface="Lato" panose="020F0502020204030203" pitchFamily="34" charset="77"/>
              </a:rPr>
              <a:t>Task</a:t>
            </a:r>
          </a:p>
        </p:txBody>
      </p:sp>
      <p:sp>
        <p:nvSpPr>
          <p:cNvPr id="12" name="Rounded Rectangle 11">
            <a:extLst>
              <a:ext uri="{FF2B5EF4-FFF2-40B4-BE49-F238E27FC236}">
                <a16:creationId xmlns:a16="http://schemas.microsoft.com/office/drawing/2014/main" id="{4C9C491E-CBCD-C3AD-3933-D832F1551E0A}"/>
              </a:ext>
            </a:extLst>
          </p:cNvPr>
          <p:cNvSpPr/>
          <p:nvPr/>
        </p:nvSpPr>
        <p:spPr>
          <a:xfrm>
            <a:off x="2494764" y="4633718"/>
            <a:ext cx="769294" cy="439457"/>
          </a:xfrm>
          <a:prstGeom prst="roundRect">
            <a:avLst/>
          </a:prstGeom>
          <a:solidFill>
            <a:schemeClr val="accent6">
              <a:lumMod val="40000"/>
              <a:lumOff val="60000"/>
            </a:schemeClr>
          </a:solidFill>
          <a:ln w="25400">
            <a:solidFill>
              <a:schemeClr val="accent6">
                <a:lumMod val="50000"/>
              </a:schemeClr>
            </a:solidFill>
          </a:ln>
        </p:spPr>
        <p:txBody>
          <a:bodyPr wrap="none" lIns="180000" tIns="90000" rIns="180000" bIns="90000" rtlCol="0" anchor="ctr">
            <a:spAutoFit/>
          </a:bodyPr>
          <a:lstStyle/>
          <a:p>
            <a:pPr algn="l"/>
            <a:r>
              <a:rPr lang="en-NL" sz="1400">
                <a:latin typeface="Lato" panose="020F0502020204030203" pitchFamily="34" charset="77"/>
              </a:rPr>
              <a:t>Task</a:t>
            </a:r>
          </a:p>
        </p:txBody>
      </p:sp>
      <p:pic>
        <p:nvPicPr>
          <p:cNvPr id="13" name="Graphic 12">
            <a:extLst>
              <a:ext uri="{FF2B5EF4-FFF2-40B4-BE49-F238E27FC236}">
                <a16:creationId xmlns:a16="http://schemas.microsoft.com/office/drawing/2014/main" id="{F75478DB-F83A-E336-1097-1F62F2B670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79694" y="3039142"/>
            <a:ext cx="684364" cy="684364"/>
          </a:xfrm>
          <a:prstGeom prst="rect">
            <a:avLst/>
          </a:prstGeom>
        </p:spPr>
      </p:pic>
      <p:sp>
        <p:nvSpPr>
          <p:cNvPr id="2" name="TextBox 1">
            <a:extLst>
              <a:ext uri="{FF2B5EF4-FFF2-40B4-BE49-F238E27FC236}">
                <a16:creationId xmlns:a16="http://schemas.microsoft.com/office/drawing/2014/main" id="{2C404910-CDC2-B168-6B93-1C3790B8E96D}"/>
              </a:ext>
            </a:extLst>
          </p:cNvPr>
          <p:cNvSpPr txBox="1"/>
          <p:nvPr/>
        </p:nvSpPr>
        <p:spPr>
          <a:xfrm>
            <a:off x="2114135" y="5202621"/>
            <a:ext cx="615874" cy="338554"/>
          </a:xfrm>
          <a:prstGeom prst="rect">
            <a:avLst/>
          </a:prstGeom>
          <a:noFill/>
        </p:spPr>
        <p:txBody>
          <a:bodyPr wrap="none" rtlCol="0">
            <a:spAutoFit/>
          </a:bodyPr>
          <a:lstStyle/>
          <a:p>
            <a:pPr algn="l"/>
            <a:r>
              <a:rPr lang="en-NL" sz="1600">
                <a:solidFill>
                  <a:schemeClr val="accent3">
                    <a:lumMod val="50000"/>
                  </a:schemeClr>
                </a:solidFill>
                <a:latin typeface="Lato Black" panose="020F0502020204030203" pitchFamily="34" charset="77"/>
              </a:rPr>
              <a:t>JVM</a:t>
            </a:r>
            <a:endParaRPr lang="en-NL">
              <a:solidFill>
                <a:schemeClr val="accent3">
                  <a:lumMod val="50000"/>
                </a:schemeClr>
              </a:solidFill>
              <a:latin typeface="Lato Black" panose="020F0502020204030203" pitchFamily="34" charset="77"/>
            </a:endParaRPr>
          </a:p>
        </p:txBody>
      </p:sp>
    </p:spTree>
    <p:extLst>
      <p:ext uri="{BB962C8B-B14F-4D97-AF65-F5344CB8AC3E}">
        <p14:creationId xmlns:p14="http://schemas.microsoft.com/office/powerpoint/2010/main" val="15408791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42F4C3-5DF4-E8B6-95D9-DF9D61A895AD}"/>
              </a:ext>
            </a:extLst>
          </p:cNvPr>
          <p:cNvSpPr>
            <a:spLocks noGrp="1"/>
          </p:cNvSpPr>
          <p:nvPr>
            <p:ph type="title"/>
          </p:nvPr>
        </p:nvSpPr>
        <p:spPr/>
        <p:txBody>
          <a:bodyPr/>
          <a:lstStyle/>
          <a:p>
            <a:r>
              <a:rPr lang="en-NL" spc="0">
                <a:latin typeface="Lato" panose="020F0502020204030203" pitchFamily="34" charset="77"/>
              </a:rPr>
              <a:t>Digital.ai Release SDK – Development environment</a:t>
            </a:r>
          </a:p>
        </p:txBody>
      </p:sp>
      <p:sp>
        <p:nvSpPr>
          <p:cNvPr id="5" name="Rounded Rectangle 4">
            <a:extLst>
              <a:ext uri="{FF2B5EF4-FFF2-40B4-BE49-F238E27FC236}">
                <a16:creationId xmlns:a16="http://schemas.microsoft.com/office/drawing/2014/main" id="{6015AE20-0C6F-0C94-31AD-9B4D269F643E}"/>
              </a:ext>
            </a:extLst>
          </p:cNvPr>
          <p:cNvSpPr/>
          <p:nvPr/>
        </p:nvSpPr>
        <p:spPr>
          <a:xfrm>
            <a:off x="1172095" y="1571105"/>
            <a:ext cx="5669280" cy="4264430"/>
          </a:xfrm>
          <a:prstGeom prst="roundRect">
            <a:avLst/>
          </a:prstGeom>
          <a:ln w="38100">
            <a:solidFill>
              <a:schemeClr val="accent1"/>
            </a:solidFill>
            <a:prstDash val="dash"/>
          </a:ln>
        </p:spPr>
        <p:txBody>
          <a:bodyPr wrap="none" rtlCol="0" anchor="ctr">
            <a:spAutoFit/>
          </a:bodyPr>
          <a:lstStyle/>
          <a:p>
            <a:pPr algn="l"/>
            <a:endParaRPr lang="en-NL">
              <a:latin typeface="+mj-lt"/>
            </a:endParaRPr>
          </a:p>
        </p:txBody>
      </p:sp>
      <p:sp>
        <p:nvSpPr>
          <p:cNvPr id="8" name="Rounded Rectangle 7">
            <a:extLst>
              <a:ext uri="{FF2B5EF4-FFF2-40B4-BE49-F238E27FC236}">
                <a16:creationId xmlns:a16="http://schemas.microsoft.com/office/drawing/2014/main" id="{625F8E52-0F92-DBBA-C66C-633F88DD2A0A}"/>
              </a:ext>
            </a:extLst>
          </p:cNvPr>
          <p:cNvSpPr/>
          <p:nvPr/>
        </p:nvSpPr>
        <p:spPr>
          <a:xfrm>
            <a:off x="1828800" y="2123090"/>
            <a:ext cx="2186152" cy="3079531"/>
          </a:xfrm>
          <a:prstGeom prst="roundRect">
            <a:avLst/>
          </a:prstGeom>
          <a:solidFill>
            <a:schemeClr val="accent3">
              <a:lumMod val="40000"/>
              <a:lumOff val="60000"/>
            </a:schemeClr>
          </a:solidFill>
          <a:ln w="25400">
            <a:solidFill>
              <a:schemeClr val="accent3">
                <a:lumMod val="50000"/>
              </a:schemeClr>
            </a:solidFill>
          </a:ln>
        </p:spPr>
        <p:txBody>
          <a:bodyPr wrap="none" rtlCol="0" anchor="ctr">
            <a:spAutoFit/>
          </a:bodyPr>
          <a:lstStyle/>
          <a:p>
            <a:pPr algn="l"/>
            <a:endParaRPr lang="en-NL">
              <a:latin typeface="+mj-lt"/>
            </a:endParaRPr>
          </a:p>
        </p:txBody>
      </p:sp>
      <p:sp>
        <p:nvSpPr>
          <p:cNvPr id="10" name="Rounded Rectangle 9">
            <a:extLst>
              <a:ext uri="{FF2B5EF4-FFF2-40B4-BE49-F238E27FC236}">
                <a16:creationId xmlns:a16="http://schemas.microsoft.com/office/drawing/2014/main" id="{E41A5445-4C4F-16D2-DC25-6B5F25EEA5CF}"/>
              </a:ext>
            </a:extLst>
          </p:cNvPr>
          <p:cNvSpPr/>
          <p:nvPr/>
        </p:nvSpPr>
        <p:spPr>
          <a:xfrm>
            <a:off x="4671657" y="2297499"/>
            <a:ext cx="1553569" cy="439457"/>
          </a:xfrm>
          <a:prstGeom prst="roundRect">
            <a:avLst/>
          </a:prstGeom>
          <a:solidFill>
            <a:schemeClr val="accent6">
              <a:lumMod val="40000"/>
              <a:lumOff val="60000"/>
            </a:schemeClr>
          </a:solidFill>
          <a:ln w="25400">
            <a:solidFill>
              <a:schemeClr val="accent6">
                <a:lumMod val="50000"/>
              </a:schemeClr>
            </a:solidFill>
          </a:ln>
        </p:spPr>
        <p:txBody>
          <a:bodyPr wrap="none" lIns="180000" tIns="90000" rIns="180000" bIns="90000" rtlCol="0" anchor="ctr">
            <a:spAutoFit/>
          </a:bodyPr>
          <a:lstStyle/>
          <a:p>
            <a:pPr algn="l"/>
            <a:r>
              <a:rPr lang="en-NL" sz="1400">
                <a:latin typeface="Lato" panose="020F0502020204030203" pitchFamily="34" charset="77"/>
              </a:rPr>
              <a:t>Container task</a:t>
            </a:r>
          </a:p>
        </p:txBody>
      </p:sp>
      <p:sp>
        <p:nvSpPr>
          <p:cNvPr id="11" name="Rounded Rectangle 10">
            <a:extLst>
              <a:ext uri="{FF2B5EF4-FFF2-40B4-BE49-F238E27FC236}">
                <a16:creationId xmlns:a16="http://schemas.microsoft.com/office/drawing/2014/main" id="{5CCAF482-20F7-9487-578E-7D7D6D74E98E}"/>
              </a:ext>
            </a:extLst>
          </p:cNvPr>
          <p:cNvSpPr/>
          <p:nvPr/>
        </p:nvSpPr>
        <p:spPr>
          <a:xfrm>
            <a:off x="4671657" y="2952309"/>
            <a:ext cx="1553569" cy="439457"/>
          </a:xfrm>
          <a:prstGeom prst="roundRect">
            <a:avLst/>
          </a:prstGeom>
          <a:solidFill>
            <a:schemeClr val="accent6">
              <a:lumMod val="40000"/>
              <a:lumOff val="60000"/>
            </a:schemeClr>
          </a:solidFill>
          <a:ln w="25400">
            <a:solidFill>
              <a:schemeClr val="accent6">
                <a:lumMod val="50000"/>
              </a:schemeClr>
            </a:solidFill>
          </a:ln>
        </p:spPr>
        <p:txBody>
          <a:bodyPr wrap="none" lIns="180000" tIns="90000" rIns="180000" bIns="90000" rtlCol="0" anchor="ctr">
            <a:spAutoFit/>
          </a:bodyPr>
          <a:lstStyle/>
          <a:p>
            <a:pPr algn="l"/>
            <a:r>
              <a:rPr lang="en-NL" sz="1400">
                <a:latin typeface="Lato" panose="020F0502020204030203" pitchFamily="34" charset="77"/>
              </a:rPr>
              <a:t>Container task</a:t>
            </a:r>
          </a:p>
        </p:txBody>
      </p:sp>
      <p:sp>
        <p:nvSpPr>
          <p:cNvPr id="12" name="Rounded Rectangle 11">
            <a:extLst>
              <a:ext uri="{FF2B5EF4-FFF2-40B4-BE49-F238E27FC236}">
                <a16:creationId xmlns:a16="http://schemas.microsoft.com/office/drawing/2014/main" id="{4C9C491E-CBCD-C3AD-3933-D832F1551E0A}"/>
              </a:ext>
            </a:extLst>
          </p:cNvPr>
          <p:cNvSpPr/>
          <p:nvPr/>
        </p:nvSpPr>
        <p:spPr>
          <a:xfrm>
            <a:off x="4671657" y="3607119"/>
            <a:ext cx="1553569" cy="439457"/>
          </a:xfrm>
          <a:prstGeom prst="roundRect">
            <a:avLst/>
          </a:prstGeom>
          <a:solidFill>
            <a:schemeClr val="accent6">
              <a:lumMod val="40000"/>
              <a:lumOff val="60000"/>
            </a:schemeClr>
          </a:solidFill>
          <a:ln w="25400">
            <a:solidFill>
              <a:schemeClr val="accent6">
                <a:lumMod val="50000"/>
              </a:schemeClr>
            </a:solidFill>
          </a:ln>
        </p:spPr>
        <p:txBody>
          <a:bodyPr wrap="none" lIns="180000" tIns="90000" rIns="180000" bIns="90000" rtlCol="0" anchor="ctr">
            <a:spAutoFit/>
          </a:bodyPr>
          <a:lstStyle/>
          <a:p>
            <a:pPr algn="l"/>
            <a:r>
              <a:rPr lang="en-NL" sz="1400">
                <a:latin typeface="Lato" panose="020F0502020204030203" pitchFamily="34" charset="77"/>
              </a:rPr>
              <a:t>Container task</a:t>
            </a:r>
          </a:p>
        </p:txBody>
      </p:sp>
      <p:cxnSp>
        <p:nvCxnSpPr>
          <p:cNvPr id="15" name="Straight Arrow Connector 14">
            <a:extLst>
              <a:ext uri="{FF2B5EF4-FFF2-40B4-BE49-F238E27FC236}">
                <a16:creationId xmlns:a16="http://schemas.microsoft.com/office/drawing/2014/main" id="{7E5A571A-6A41-560E-76EF-C8A057A8DA72}"/>
              </a:ext>
            </a:extLst>
          </p:cNvPr>
          <p:cNvCxnSpPr>
            <a:stCxn id="10" idx="1"/>
          </p:cNvCxnSpPr>
          <p:nvPr/>
        </p:nvCxnSpPr>
        <p:spPr>
          <a:xfrm flipH="1" flipV="1">
            <a:off x="4014952" y="2517226"/>
            <a:ext cx="656705" cy="2"/>
          </a:xfrm>
          <a:prstGeom prst="straightConnector1">
            <a:avLst/>
          </a:prstGeom>
          <a:ln w="25400">
            <a:solidFill>
              <a:schemeClr val="accent6">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BA9E4F18-19DF-7C2B-CBEC-3B24EA564F8C}"/>
              </a:ext>
            </a:extLst>
          </p:cNvPr>
          <p:cNvCxnSpPr/>
          <p:nvPr/>
        </p:nvCxnSpPr>
        <p:spPr>
          <a:xfrm flipH="1" flipV="1">
            <a:off x="4014952" y="3172036"/>
            <a:ext cx="656705" cy="1"/>
          </a:xfrm>
          <a:prstGeom prst="straightConnector1">
            <a:avLst/>
          </a:prstGeom>
          <a:ln w="25400">
            <a:solidFill>
              <a:schemeClr val="accent6">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AAEA0D2B-E9AC-0562-7398-41C21A058D74}"/>
              </a:ext>
            </a:extLst>
          </p:cNvPr>
          <p:cNvCxnSpPr/>
          <p:nvPr/>
        </p:nvCxnSpPr>
        <p:spPr>
          <a:xfrm flipH="1" flipV="1">
            <a:off x="4014952" y="3826846"/>
            <a:ext cx="656705" cy="1"/>
          </a:xfrm>
          <a:prstGeom prst="straightConnector1">
            <a:avLst/>
          </a:prstGeom>
          <a:ln w="25400">
            <a:solidFill>
              <a:schemeClr val="accent6">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C5CF344-2AA9-358E-D69A-2A587BCD1645}"/>
              </a:ext>
            </a:extLst>
          </p:cNvPr>
          <p:cNvSpPr txBox="1"/>
          <p:nvPr/>
        </p:nvSpPr>
        <p:spPr>
          <a:xfrm>
            <a:off x="1828800" y="5841028"/>
            <a:ext cx="955711" cy="369332"/>
          </a:xfrm>
          <a:prstGeom prst="rect">
            <a:avLst/>
          </a:prstGeom>
          <a:noFill/>
        </p:spPr>
        <p:txBody>
          <a:bodyPr wrap="none" rtlCol="0">
            <a:spAutoFit/>
          </a:bodyPr>
          <a:lstStyle/>
          <a:p>
            <a:pPr algn="l"/>
            <a:r>
              <a:rPr lang="en-NL">
                <a:solidFill>
                  <a:schemeClr val="accent5">
                    <a:lumMod val="50000"/>
                  </a:schemeClr>
                </a:solidFill>
                <a:latin typeface="Lato Black" panose="020F0502020204030203" pitchFamily="34" charset="77"/>
              </a:rPr>
              <a:t>Docker</a:t>
            </a:r>
          </a:p>
        </p:txBody>
      </p:sp>
      <p:sp>
        <p:nvSpPr>
          <p:cNvPr id="2" name="TextBox 1">
            <a:extLst>
              <a:ext uri="{FF2B5EF4-FFF2-40B4-BE49-F238E27FC236}">
                <a16:creationId xmlns:a16="http://schemas.microsoft.com/office/drawing/2014/main" id="{2C404910-CDC2-B168-6B93-1C3790B8E96D}"/>
              </a:ext>
            </a:extLst>
          </p:cNvPr>
          <p:cNvSpPr txBox="1"/>
          <p:nvPr/>
        </p:nvSpPr>
        <p:spPr>
          <a:xfrm>
            <a:off x="2114135" y="5202621"/>
            <a:ext cx="615874" cy="338554"/>
          </a:xfrm>
          <a:prstGeom prst="rect">
            <a:avLst/>
          </a:prstGeom>
          <a:noFill/>
        </p:spPr>
        <p:txBody>
          <a:bodyPr wrap="none" rtlCol="0">
            <a:spAutoFit/>
          </a:bodyPr>
          <a:lstStyle/>
          <a:p>
            <a:pPr algn="l"/>
            <a:r>
              <a:rPr lang="en-NL" sz="1600">
                <a:solidFill>
                  <a:schemeClr val="accent3">
                    <a:lumMod val="50000"/>
                  </a:schemeClr>
                </a:solidFill>
                <a:latin typeface="Lato Black" panose="020F0502020204030203" pitchFamily="34" charset="77"/>
              </a:rPr>
              <a:t>JVM</a:t>
            </a:r>
            <a:endParaRPr lang="en-NL">
              <a:solidFill>
                <a:schemeClr val="accent3">
                  <a:lumMod val="50000"/>
                </a:schemeClr>
              </a:solidFill>
              <a:latin typeface="Lato Black" panose="020F0502020204030203" pitchFamily="34" charset="77"/>
            </a:endParaRPr>
          </a:p>
        </p:txBody>
      </p:sp>
      <p:sp>
        <p:nvSpPr>
          <p:cNvPr id="3" name="TextBox 2">
            <a:extLst>
              <a:ext uri="{FF2B5EF4-FFF2-40B4-BE49-F238E27FC236}">
                <a16:creationId xmlns:a16="http://schemas.microsoft.com/office/drawing/2014/main" id="{38EA3077-F690-AEE0-C50F-4DF7C6E4246D}"/>
              </a:ext>
            </a:extLst>
          </p:cNvPr>
          <p:cNvSpPr txBox="1"/>
          <p:nvPr/>
        </p:nvSpPr>
        <p:spPr>
          <a:xfrm>
            <a:off x="2367077" y="2327525"/>
            <a:ext cx="1109599" cy="646331"/>
          </a:xfrm>
          <a:prstGeom prst="rect">
            <a:avLst/>
          </a:prstGeom>
          <a:noFill/>
        </p:spPr>
        <p:txBody>
          <a:bodyPr wrap="none" rtlCol="0">
            <a:spAutoFit/>
          </a:bodyPr>
          <a:lstStyle/>
          <a:p>
            <a:pPr algn="ctr"/>
            <a:r>
              <a:rPr lang="en-US" b="1" dirty="0">
                <a:latin typeface="Lato" panose="020F0502020204030203" pitchFamily="34" charset="77"/>
              </a:rPr>
              <a:t>Digital.ai</a:t>
            </a:r>
            <a:br>
              <a:rPr lang="en-US" b="1" dirty="0">
                <a:latin typeface="Lato" panose="020F0502020204030203" pitchFamily="34" charset="77"/>
              </a:rPr>
            </a:br>
            <a:r>
              <a:rPr lang="en-US" b="1" dirty="0">
                <a:latin typeface="Lato" panose="020F0502020204030203" pitchFamily="34" charset="77"/>
              </a:rPr>
              <a:t>Release</a:t>
            </a:r>
          </a:p>
        </p:txBody>
      </p:sp>
      <p:pic>
        <p:nvPicPr>
          <p:cNvPr id="6" name="Graphic 5">
            <a:extLst>
              <a:ext uri="{FF2B5EF4-FFF2-40B4-BE49-F238E27FC236}">
                <a16:creationId xmlns:a16="http://schemas.microsoft.com/office/drawing/2014/main" id="{36AE88BE-F36C-248D-53CF-8DE8F089E09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79694" y="3039142"/>
            <a:ext cx="684364" cy="684364"/>
          </a:xfrm>
          <a:prstGeom prst="rect">
            <a:avLst/>
          </a:prstGeom>
        </p:spPr>
      </p:pic>
      <p:sp>
        <p:nvSpPr>
          <p:cNvPr id="7" name="TextBox 6">
            <a:extLst>
              <a:ext uri="{FF2B5EF4-FFF2-40B4-BE49-F238E27FC236}">
                <a16:creationId xmlns:a16="http://schemas.microsoft.com/office/drawing/2014/main" id="{46E4D402-C8F1-18AC-8084-872B7EDD76A6}"/>
              </a:ext>
            </a:extLst>
          </p:cNvPr>
          <p:cNvSpPr txBox="1"/>
          <p:nvPr/>
        </p:nvSpPr>
        <p:spPr>
          <a:xfrm>
            <a:off x="4157851" y="2272499"/>
            <a:ext cx="391454" cy="276999"/>
          </a:xfrm>
          <a:prstGeom prst="rect">
            <a:avLst/>
          </a:prstGeom>
          <a:noFill/>
        </p:spPr>
        <p:txBody>
          <a:bodyPr wrap="none" rtlCol="0">
            <a:spAutoFit/>
          </a:bodyPr>
          <a:lstStyle/>
          <a:p>
            <a:pPr algn="l"/>
            <a:r>
              <a:rPr lang="en-NL" sz="1200" dirty="0">
                <a:solidFill>
                  <a:schemeClr val="accent6">
                    <a:lumMod val="50000"/>
                  </a:schemeClr>
                </a:solidFill>
                <a:latin typeface="Lato Light" panose="020F0302020204030203" pitchFamily="34" charset="77"/>
              </a:rPr>
              <a:t>tcp</a:t>
            </a:r>
          </a:p>
        </p:txBody>
      </p:sp>
    </p:spTree>
    <p:extLst>
      <p:ext uri="{BB962C8B-B14F-4D97-AF65-F5344CB8AC3E}">
        <p14:creationId xmlns:p14="http://schemas.microsoft.com/office/powerpoint/2010/main" val="37798847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Straight Arrow Connector 18">
            <a:extLst>
              <a:ext uri="{FF2B5EF4-FFF2-40B4-BE49-F238E27FC236}">
                <a16:creationId xmlns:a16="http://schemas.microsoft.com/office/drawing/2014/main" id="{8EF82FC1-5343-613C-88F7-571D93F0F425}"/>
              </a:ext>
            </a:extLst>
          </p:cNvPr>
          <p:cNvCxnSpPr>
            <a:cxnSpLocks/>
          </p:cNvCxnSpPr>
          <p:nvPr/>
        </p:nvCxnSpPr>
        <p:spPr>
          <a:xfrm>
            <a:off x="6385034" y="2721538"/>
            <a:ext cx="0" cy="900997"/>
          </a:xfrm>
          <a:prstGeom prst="straightConnector1">
            <a:avLst/>
          </a:prstGeom>
          <a:ln w="25400">
            <a:solidFill>
              <a:schemeClr val="accent6">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C642F4C3-5DF4-E8B6-95D9-DF9D61A895AD}"/>
              </a:ext>
            </a:extLst>
          </p:cNvPr>
          <p:cNvSpPr>
            <a:spLocks noGrp="1"/>
          </p:cNvSpPr>
          <p:nvPr>
            <p:ph type="title"/>
          </p:nvPr>
        </p:nvSpPr>
        <p:spPr/>
        <p:txBody>
          <a:bodyPr/>
          <a:lstStyle/>
          <a:p>
            <a:r>
              <a:rPr lang="en-NL" spc="0">
                <a:latin typeface="Lato" panose="020F0502020204030203" pitchFamily="34" charset="77"/>
              </a:rPr>
              <a:t>Digital.ai Release SDK – Production environment</a:t>
            </a:r>
          </a:p>
        </p:txBody>
      </p:sp>
      <p:sp>
        <p:nvSpPr>
          <p:cNvPr id="5" name="Rounded Rectangle 4">
            <a:extLst>
              <a:ext uri="{FF2B5EF4-FFF2-40B4-BE49-F238E27FC236}">
                <a16:creationId xmlns:a16="http://schemas.microsoft.com/office/drawing/2014/main" id="{6015AE20-0C6F-0C94-31AD-9B4D269F643E}"/>
              </a:ext>
            </a:extLst>
          </p:cNvPr>
          <p:cNvSpPr/>
          <p:nvPr/>
        </p:nvSpPr>
        <p:spPr>
          <a:xfrm>
            <a:off x="5533888" y="1571105"/>
            <a:ext cx="5669280" cy="4264430"/>
          </a:xfrm>
          <a:prstGeom prst="roundRect">
            <a:avLst/>
          </a:prstGeom>
          <a:ln w="38100">
            <a:solidFill>
              <a:schemeClr val="accent1"/>
            </a:solidFill>
            <a:prstDash val="dash"/>
          </a:ln>
        </p:spPr>
        <p:txBody>
          <a:bodyPr wrap="none" rtlCol="0" anchor="ctr">
            <a:spAutoFit/>
          </a:bodyPr>
          <a:lstStyle/>
          <a:p>
            <a:pPr algn="l"/>
            <a:endParaRPr lang="en-NL">
              <a:latin typeface="+mj-lt"/>
            </a:endParaRPr>
          </a:p>
        </p:txBody>
      </p:sp>
      <p:sp>
        <p:nvSpPr>
          <p:cNvPr id="8" name="Rounded Rectangle 7">
            <a:extLst>
              <a:ext uri="{FF2B5EF4-FFF2-40B4-BE49-F238E27FC236}">
                <a16:creationId xmlns:a16="http://schemas.microsoft.com/office/drawing/2014/main" id="{625F8E52-0F92-DBBA-C66C-633F88DD2A0A}"/>
              </a:ext>
            </a:extLst>
          </p:cNvPr>
          <p:cNvSpPr/>
          <p:nvPr/>
        </p:nvSpPr>
        <p:spPr>
          <a:xfrm>
            <a:off x="1828800" y="2123090"/>
            <a:ext cx="2186152" cy="3079531"/>
          </a:xfrm>
          <a:prstGeom prst="roundRect">
            <a:avLst/>
          </a:prstGeom>
          <a:solidFill>
            <a:schemeClr val="accent3">
              <a:lumMod val="40000"/>
              <a:lumOff val="60000"/>
            </a:schemeClr>
          </a:solidFill>
          <a:ln w="25400">
            <a:solidFill>
              <a:schemeClr val="accent3">
                <a:lumMod val="50000"/>
              </a:schemeClr>
            </a:solidFill>
          </a:ln>
        </p:spPr>
        <p:txBody>
          <a:bodyPr wrap="none" rtlCol="0" anchor="ctr">
            <a:spAutoFit/>
          </a:bodyPr>
          <a:lstStyle/>
          <a:p>
            <a:pPr algn="l"/>
            <a:endParaRPr lang="en-NL">
              <a:latin typeface="+mj-lt"/>
            </a:endParaRPr>
          </a:p>
        </p:txBody>
      </p:sp>
      <p:sp>
        <p:nvSpPr>
          <p:cNvPr id="10" name="Rounded Rectangle 9">
            <a:extLst>
              <a:ext uri="{FF2B5EF4-FFF2-40B4-BE49-F238E27FC236}">
                <a16:creationId xmlns:a16="http://schemas.microsoft.com/office/drawing/2014/main" id="{E41A5445-4C4F-16D2-DC25-6B5F25EEA5CF}"/>
              </a:ext>
            </a:extLst>
          </p:cNvPr>
          <p:cNvSpPr/>
          <p:nvPr/>
        </p:nvSpPr>
        <p:spPr>
          <a:xfrm>
            <a:off x="5796264" y="2297499"/>
            <a:ext cx="1625466" cy="439457"/>
          </a:xfrm>
          <a:prstGeom prst="roundRect">
            <a:avLst/>
          </a:prstGeom>
          <a:solidFill>
            <a:schemeClr val="accent6">
              <a:lumMod val="75000"/>
            </a:schemeClr>
          </a:solidFill>
          <a:ln w="25400">
            <a:solidFill>
              <a:schemeClr val="accent6">
                <a:lumMod val="50000"/>
              </a:schemeClr>
            </a:solidFill>
          </a:ln>
        </p:spPr>
        <p:txBody>
          <a:bodyPr wrap="none" lIns="180000" tIns="90000" rIns="180000" bIns="90000" rtlCol="0" anchor="ctr">
            <a:spAutoFit/>
          </a:bodyPr>
          <a:lstStyle/>
          <a:p>
            <a:pPr algn="l"/>
            <a:r>
              <a:rPr lang="en-US" sz="1400" dirty="0">
                <a:latin typeface="Lato" panose="020F0502020204030203" pitchFamily="34" charset="77"/>
              </a:rPr>
              <a:t>Release</a:t>
            </a:r>
            <a:r>
              <a:rPr lang="en-NL" sz="1400">
                <a:latin typeface="Lato" panose="020F0502020204030203" pitchFamily="34" charset="77"/>
              </a:rPr>
              <a:t> </a:t>
            </a:r>
            <a:r>
              <a:rPr lang="en-US" sz="1400" dirty="0">
                <a:latin typeface="Lato" panose="020F0502020204030203" pitchFamily="34" charset="77"/>
              </a:rPr>
              <a:t>r</a:t>
            </a:r>
            <a:r>
              <a:rPr lang="en-NL" sz="1400">
                <a:latin typeface="Lato" panose="020F0502020204030203" pitchFamily="34" charset="77"/>
              </a:rPr>
              <a:t>unner</a:t>
            </a:r>
            <a:endParaRPr lang="en-NL" sz="1400" dirty="0">
              <a:latin typeface="Lato" panose="020F0502020204030203" pitchFamily="34" charset="77"/>
            </a:endParaRPr>
          </a:p>
        </p:txBody>
      </p:sp>
      <p:sp>
        <p:nvSpPr>
          <p:cNvPr id="11" name="Rounded Rectangle 10">
            <a:extLst>
              <a:ext uri="{FF2B5EF4-FFF2-40B4-BE49-F238E27FC236}">
                <a16:creationId xmlns:a16="http://schemas.microsoft.com/office/drawing/2014/main" id="{5CCAF482-20F7-9487-578E-7D7D6D74E98E}"/>
              </a:ext>
            </a:extLst>
          </p:cNvPr>
          <p:cNvSpPr/>
          <p:nvPr/>
        </p:nvSpPr>
        <p:spPr>
          <a:xfrm>
            <a:off x="5940057" y="2952309"/>
            <a:ext cx="1553569" cy="439457"/>
          </a:xfrm>
          <a:prstGeom prst="roundRect">
            <a:avLst/>
          </a:prstGeom>
          <a:solidFill>
            <a:schemeClr val="accent6">
              <a:lumMod val="40000"/>
              <a:lumOff val="60000"/>
            </a:schemeClr>
          </a:solidFill>
          <a:ln w="25400">
            <a:solidFill>
              <a:schemeClr val="accent6">
                <a:lumMod val="50000"/>
              </a:schemeClr>
            </a:solidFill>
          </a:ln>
        </p:spPr>
        <p:txBody>
          <a:bodyPr wrap="none" lIns="180000" tIns="90000" rIns="180000" bIns="90000" rtlCol="0" anchor="ctr">
            <a:spAutoFit/>
          </a:bodyPr>
          <a:lstStyle/>
          <a:p>
            <a:pPr algn="l"/>
            <a:r>
              <a:rPr lang="en-NL" sz="1400">
                <a:latin typeface="Lato" panose="020F0502020204030203" pitchFamily="34" charset="77"/>
              </a:rPr>
              <a:t>Container task</a:t>
            </a:r>
          </a:p>
        </p:txBody>
      </p:sp>
      <p:sp>
        <p:nvSpPr>
          <p:cNvPr id="12" name="Rounded Rectangle 11">
            <a:extLst>
              <a:ext uri="{FF2B5EF4-FFF2-40B4-BE49-F238E27FC236}">
                <a16:creationId xmlns:a16="http://schemas.microsoft.com/office/drawing/2014/main" id="{4C9C491E-CBCD-C3AD-3933-D832F1551E0A}"/>
              </a:ext>
            </a:extLst>
          </p:cNvPr>
          <p:cNvSpPr/>
          <p:nvPr/>
        </p:nvSpPr>
        <p:spPr>
          <a:xfrm>
            <a:off x="5940057" y="3607119"/>
            <a:ext cx="1553569" cy="439457"/>
          </a:xfrm>
          <a:prstGeom prst="roundRect">
            <a:avLst/>
          </a:prstGeom>
          <a:solidFill>
            <a:schemeClr val="accent6">
              <a:lumMod val="40000"/>
              <a:lumOff val="60000"/>
            </a:schemeClr>
          </a:solidFill>
          <a:ln w="25400">
            <a:solidFill>
              <a:schemeClr val="accent6">
                <a:lumMod val="50000"/>
              </a:schemeClr>
            </a:solidFill>
          </a:ln>
        </p:spPr>
        <p:txBody>
          <a:bodyPr wrap="none" lIns="180000" tIns="90000" rIns="180000" bIns="90000" rtlCol="0" anchor="ctr">
            <a:spAutoFit/>
          </a:bodyPr>
          <a:lstStyle/>
          <a:p>
            <a:pPr algn="l"/>
            <a:r>
              <a:rPr lang="en-NL" sz="1400">
                <a:latin typeface="Lato" panose="020F0502020204030203" pitchFamily="34" charset="77"/>
              </a:rPr>
              <a:t>Container task</a:t>
            </a:r>
          </a:p>
        </p:txBody>
      </p:sp>
      <p:cxnSp>
        <p:nvCxnSpPr>
          <p:cNvPr id="15" name="Straight Arrow Connector 14">
            <a:extLst>
              <a:ext uri="{FF2B5EF4-FFF2-40B4-BE49-F238E27FC236}">
                <a16:creationId xmlns:a16="http://schemas.microsoft.com/office/drawing/2014/main" id="{7E5A571A-6A41-560E-76EF-C8A057A8DA72}"/>
              </a:ext>
            </a:extLst>
          </p:cNvPr>
          <p:cNvCxnSpPr>
            <a:cxnSpLocks/>
            <a:stCxn id="10" idx="1"/>
          </p:cNvCxnSpPr>
          <p:nvPr/>
        </p:nvCxnSpPr>
        <p:spPr>
          <a:xfrm flipH="1" flipV="1">
            <a:off x="4014952" y="2517227"/>
            <a:ext cx="1781312" cy="1"/>
          </a:xfrm>
          <a:prstGeom prst="straightConnector1">
            <a:avLst/>
          </a:prstGeom>
          <a:ln w="25400">
            <a:solidFill>
              <a:schemeClr val="accent6">
                <a:lumMod val="50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C5CF344-2AA9-358E-D69A-2A587BCD1645}"/>
              </a:ext>
            </a:extLst>
          </p:cNvPr>
          <p:cNvSpPr txBox="1"/>
          <p:nvPr/>
        </p:nvSpPr>
        <p:spPr>
          <a:xfrm>
            <a:off x="6190593" y="5841028"/>
            <a:ext cx="1417376" cy="369332"/>
          </a:xfrm>
          <a:prstGeom prst="rect">
            <a:avLst/>
          </a:prstGeom>
          <a:noFill/>
        </p:spPr>
        <p:txBody>
          <a:bodyPr wrap="none" rtlCol="0">
            <a:spAutoFit/>
          </a:bodyPr>
          <a:lstStyle/>
          <a:p>
            <a:pPr algn="l"/>
            <a:r>
              <a:rPr lang="en-NL">
                <a:solidFill>
                  <a:schemeClr val="accent5">
                    <a:lumMod val="50000"/>
                  </a:schemeClr>
                </a:solidFill>
                <a:latin typeface="Lato Black" panose="020F0502020204030203" pitchFamily="34" charset="77"/>
              </a:rPr>
              <a:t>Kubernetes</a:t>
            </a:r>
          </a:p>
        </p:txBody>
      </p:sp>
      <p:cxnSp>
        <p:nvCxnSpPr>
          <p:cNvPr id="6" name="Straight Arrow Connector 5">
            <a:extLst>
              <a:ext uri="{FF2B5EF4-FFF2-40B4-BE49-F238E27FC236}">
                <a16:creationId xmlns:a16="http://schemas.microsoft.com/office/drawing/2014/main" id="{237AC525-F93E-FAAB-E966-FD791B65A394}"/>
              </a:ext>
            </a:extLst>
          </p:cNvPr>
          <p:cNvCxnSpPr>
            <a:cxnSpLocks/>
          </p:cNvCxnSpPr>
          <p:nvPr/>
        </p:nvCxnSpPr>
        <p:spPr>
          <a:xfrm>
            <a:off x="6190593" y="2721538"/>
            <a:ext cx="0" cy="246187"/>
          </a:xfrm>
          <a:prstGeom prst="straightConnector1">
            <a:avLst/>
          </a:prstGeom>
          <a:ln w="25400">
            <a:solidFill>
              <a:schemeClr val="accent6">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E873BE91-2ADF-0999-7D8F-783A162393A8}"/>
              </a:ext>
            </a:extLst>
          </p:cNvPr>
          <p:cNvSpPr txBox="1"/>
          <p:nvPr/>
        </p:nvSpPr>
        <p:spPr>
          <a:xfrm>
            <a:off x="2114135" y="5202621"/>
            <a:ext cx="615874" cy="338554"/>
          </a:xfrm>
          <a:prstGeom prst="rect">
            <a:avLst/>
          </a:prstGeom>
          <a:noFill/>
        </p:spPr>
        <p:txBody>
          <a:bodyPr wrap="none" rtlCol="0">
            <a:spAutoFit/>
          </a:bodyPr>
          <a:lstStyle/>
          <a:p>
            <a:pPr algn="l"/>
            <a:r>
              <a:rPr lang="en-NL" sz="1600">
                <a:solidFill>
                  <a:schemeClr val="accent3">
                    <a:lumMod val="50000"/>
                  </a:schemeClr>
                </a:solidFill>
                <a:latin typeface="Lato Black" panose="020F0502020204030203" pitchFamily="34" charset="77"/>
              </a:rPr>
              <a:t>JVM</a:t>
            </a:r>
            <a:endParaRPr lang="en-NL">
              <a:solidFill>
                <a:schemeClr val="accent3">
                  <a:lumMod val="50000"/>
                </a:schemeClr>
              </a:solidFill>
              <a:latin typeface="Lato Black" panose="020F0502020204030203" pitchFamily="34" charset="77"/>
            </a:endParaRPr>
          </a:p>
        </p:txBody>
      </p:sp>
      <p:sp>
        <p:nvSpPr>
          <p:cNvPr id="7" name="TextBox 6">
            <a:extLst>
              <a:ext uri="{FF2B5EF4-FFF2-40B4-BE49-F238E27FC236}">
                <a16:creationId xmlns:a16="http://schemas.microsoft.com/office/drawing/2014/main" id="{FCAF8B50-7611-6C9B-13C6-EBD6F567EA88}"/>
              </a:ext>
            </a:extLst>
          </p:cNvPr>
          <p:cNvSpPr txBox="1"/>
          <p:nvPr/>
        </p:nvSpPr>
        <p:spPr>
          <a:xfrm>
            <a:off x="2367077" y="2327525"/>
            <a:ext cx="1109599" cy="646331"/>
          </a:xfrm>
          <a:prstGeom prst="rect">
            <a:avLst/>
          </a:prstGeom>
          <a:noFill/>
        </p:spPr>
        <p:txBody>
          <a:bodyPr wrap="none" rtlCol="0">
            <a:spAutoFit/>
          </a:bodyPr>
          <a:lstStyle/>
          <a:p>
            <a:pPr algn="ctr"/>
            <a:r>
              <a:rPr lang="en-US" b="1" dirty="0">
                <a:latin typeface="Lato" panose="020F0502020204030203" pitchFamily="34" charset="77"/>
              </a:rPr>
              <a:t>Digital.ai</a:t>
            </a:r>
            <a:br>
              <a:rPr lang="en-US" b="1" dirty="0">
                <a:latin typeface="Lato" panose="020F0502020204030203" pitchFamily="34" charset="77"/>
              </a:rPr>
            </a:br>
            <a:r>
              <a:rPr lang="en-US" b="1" dirty="0">
                <a:latin typeface="Lato" panose="020F0502020204030203" pitchFamily="34" charset="77"/>
              </a:rPr>
              <a:t>Release</a:t>
            </a:r>
          </a:p>
        </p:txBody>
      </p:sp>
      <p:pic>
        <p:nvPicPr>
          <p:cNvPr id="14" name="Graphic 13">
            <a:extLst>
              <a:ext uri="{FF2B5EF4-FFF2-40B4-BE49-F238E27FC236}">
                <a16:creationId xmlns:a16="http://schemas.microsoft.com/office/drawing/2014/main" id="{C441D4D6-F997-CC60-DFA9-D6E3109B8CE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79694" y="3039142"/>
            <a:ext cx="684364" cy="684364"/>
          </a:xfrm>
          <a:prstGeom prst="rect">
            <a:avLst/>
          </a:prstGeom>
        </p:spPr>
      </p:pic>
      <p:sp>
        <p:nvSpPr>
          <p:cNvPr id="16" name="TextBox 15">
            <a:extLst>
              <a:ext uri="{FF2B5EF4-FFF2-40B4-BE49-F238E27FC236}">
                <a16:creationId xmlns:a16="http://schemas.microsoft.com/office/drawing/2014/main" id="{A16FF69E-40B2-7224-84F4-9CE02A102550}"/>
              </a:ext>
            </a:extLst>
          </p:cNvPr>
          <p:cNvSpPr txBox="1"/>
          <p:nvPr/>
        </p:nvSpPr>
        <p:spPr>
          <a:xfrm>
            <a:off x="5009385" y="2240228"/>
            <a:ext cx="524503" cy="276999"/>
          </a:xfrm>
          <a:prstGeom prst="rect">
            <a:avLst/>
          </a:prstGeom>
          <a:noFill/>
        </p:spPr>
        <p:txBody>
          <a:bodyPr wrap="none" rtlCol="0">
            <a:spAutoFit/>
          </a:bodyPr>
          <a:lstStyle/>
          <a:p>
            <a:pPr algn="l"/>
            <a:r>
              <a:rPr lang="en-NL" sz="1200" dirty="0">
                <a:solidFill>
                  <a:schemeClr val="accent6">
                    <a:lumMod val="50000"/>
                  </a:schemeClr>
                </a:solidFill>
                <a:latin typeface="Lato Light" panose="020F0302020204030203" pitchFamily="34" charset="77"/>
              </a:rPr>
              <a:t>https</a:t>
            </a:r>
          </a:p>
        </p:txBody>
      </p:sp>
      <p:sp>
        <p:nvSpPr>
          <p:cNvPr id="9" name="Rounded Rectangle 8">
            <a:extLst>
              <a:ext uri="{FF2B5EF4-FFF2-40B4-BE49-F238E27FC236}">
                <a16:creationId xmlns:a16="http://schemas.microsoft.com/office/drawing/2014/main" id="{DAE615C3-14F2-7EA3-23FC-1B6D8B1BF77C}"/>
              </a:ext>
            </a:extLst>
          </p:cNvPr>
          <p:cNvSpPr/>
          <p:nvPr/>
        </p:nvSpPr>
        <p:spPr>
          <a:xfrm>
            <a:off x="5864892" y="4277345"/>
            <a:ext cx="1628734" cy="439457"/>
          </a:xfrm>
          <a:prstGeom prst="roundRect">
            <a:avLst/>
          </a:prstGeom>
          <a:solidFill>
            <a:schemeClr val="accent6">
              <a:lumMod val="75000"/>
            </a:schemeClr>
          </a:solidFill>
          <a:ln w="25400">
            <a:solidFill>
              <a:schemeClr val="accent6">
                <a:lumMod val="50000"/>
              </a:schemeClr>
            </a:solidFill>
          </a:ln>
        </p:spPr>
        <p:txBody>
          <a:bodyPr wrap="square" lIns="180000" tIns="90000" rIns="180000" bIns="90000" rtlCol="0" anchor="ctr">
            <a:spAutoFit/>
          </a:bodyPr>
          <a:lstStyle/>
          <a:p>
            <a:pPr algn="l"/>
            <a:r>
              <a:rPr lang="en-US" sz="1400" dirty="0">
                <a:latin typeface="Lato" panose="020F0502020204030203" pitchFamily="34" charset="77"/>
              </a:rPr>
              <a:t>Release</a:t>
            </a:r>
            <a:r>
              <a:rPr lang="en-NL" sz="1400">
                <a:latin typeface="Lato" panose="020F0502020204030203" pitchFamily="34" charset="77"/>
              </a:rPr>
              <a:t> </a:t>
            </a:r>
            <a:r>
              <a:rPr lang="en-US" sz="1400" dirty="0">
                <a:latin typeface="Lato" panose="020F0502020204030203" pitchFamily="34" charset="77"/>
              </a:rPr>
              <a:t>r</a:t>
            </a:r>
            <a:r>
              <a:rPr lang="en-NL" sz="1400">
                <a:latin typeface="Lato" panose="020F0502020204030203" pitchFamily="34" charset="77"/>
              </a:rPr>
              <a:t>unner</a:t>
            </a:r>
            <a:endParaRPr lang="en-NL" sz="1400" dirty="0">
              <a:latin typeface="Lato" panose="020F0502020204030203" pitchFamily="34" charset="77"/>
            </a:endParaRPr>
          </a:p>
        </p:txBody>
      </p:sp>
      <p:sp>
        <p:nvSpPr>
          <p:cNvPr id="13" name="Rounded Rectangle 12">
            <a:extLst>
              <a:ext uri="{FF2B5EF4-FFF2-40B4-BE49-F238E27FC236}">
                <a16:creationId xmlns:a16="http://schemas.microsoft.com/office/drawing/2014/main" id="{A483F1E6-39A7-B6A1-73FB-AC9685E212A7}"/>
              </a:ext>
            </a:extLst>
          </p:cNvPr>
          <p:cNvSpPr/>
          <p:nvPr/>
        </p:nvSpPr>
        <p:spPr>
          <a:xfrm>
            <a:off x="6008685" y="4932155"/>
            <a:ext cx="1553569" cy="439457"/>
          </a:xfrm>
          <a:prstGeom prst="roundRect">
            <a:avLst/>
          </a:prstGeom>
          <a:solidFill>
            <a:schemeClr val="accent6">
              <a:lumMod val="40000"/>
              <a:lumOff val="60000"/>
            </a:schemeClr>
          </a:solidFill>
          <a:ln w="25400">
            <a:solidFill>
              <a:schemeClr val="accent6">
                <a:lumMod val="50000"/>
              </a:schemeClr>
            </a:solidFill>
          </a:ln>
        </p:spPr>
        <p:txBody>
          <a:bodyPr wrap="square" lIns="180000" tIns="90000" rIns="180000" bIns="90000" rtlCol="0" anchor="ctr">
            <a:spAutoFit/>
          </a:bodyPr>
          <a:lstStyle/>
          <a:p>
            <a:pPr algn="l"/>
            <a:r>
              <a:rPr lang="en-NL" sz="1400">
                <a:latin typeface="Lato" panose="020F0502020204030203" pitchFamily="34" charset="77"/>
              </a:rPr>
              <a:t>Container task</a:t>
            </a:r>
          </a:p>
        </p:txBody>
      </p:sp>
      <p:cxnSp>
        <p:nvCxnSpPr>
          <p:cNvPr id="17" name="Straight Arrow Connector 16">
            <a:extLst>
              <a:ext uri="{FF2B5EF4-FFF2-40B4-BE49-F238E27FC236}">
                <a16:creationId xmlns:a16="http://schemas.microsoft.com/office/drawing/2014/main" id="{54F374E2-0EE7-220C-2308-BFC038383466}"/>
              </a:ext>
            </a:extLst>
          </p:cNvPr>
          <p:cNvCxnSpPr>
            <a:cxnSpLocks/>
            <a:stCxn id="9" idx="1"/>
          </p:cNvCxnSpPr>
          <p:nvPr/>
        </p:nvCxnSpPr>
        <p:spPr>
          <a:xfrm flipH="1">
            <a:off x="4014952" y="4497074"/>
            <a:ext cx="1849940" cy="0"/>
          </a:xfrm>
          <a:prstGeom prst="straightConnector1">
            <a:avLst/>
          </a:prstGeom>
          <a:ln w="25400">
            <a:solidFill>
              <a:schemeClr val="accent6">
                <a:lumMod val="50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49AB9476-BE4D-C222-2F8A-D7FD732D4AB8}"/>
              </a:ext>
            </a:extLst>
          </p:cNvPr>
          <p:cNvCxnSpPr>
            <a:cxnSpLocks/>
          </p:cNvCxnSpPr>
          <p:nvPr/>
        </p:nvCxnSpPr>
        <p:spPr>
          <a:xfrm>
            <a:off x="6259221" y="4701384"/>
            <a:ext cx="0" cy="246187"/>
          </a:xfrm>
          <a:prstGeom prst="straightConnector1">
            <a:avLst/>
          </a:prstGeom>
          <a:ln w="25400">
            <a:solidFill>
              <a:schemeClr val="accent6">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81038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5421614-BA6C-45CC-6930-80E139B8432A}"/>
              </a:ext>
            </a:extLst>
          </p:cNvPr>
          <p:cNvSpPr>
            <a:spLocks noGrp="1"/>
          </p:cNvSpPr>
          <p:nvPr>
            <p:ph type="ftr" sz="quarter" idx="10"/>
          </p:nvPr>
        </p:nvSpPr>
        <p:spPr/>
        <p:txBody>
          <a:bodyPr/>
          <a:lstStyle/>
          <a:p>
            <a:endParaRPr lang="en-US" dirty="0"/>
          </a:p>
        </p:txBody>
      </p:sp>
      <p:sp>
        <p:nvSpPr>
          <p:cNvPr id="3" name="Title 2">
            <a:extLst>
              <a:ext uri="{FF2B5EF4-FFF2-40B4-BE49-F238E27FC236}">
                <a16:creationId xmlns:a16="http://schemas.microsoft.com/office/drawing/2014/main" id="{8BAB0319-7B6D-FE88-4841-FA29C5EBA3A4}"/>
              </a:ext>
            </a:extLst>
          </p:cNvPr>
          <p:cNvSpPr>
            <a:spLocks noGrp="1"/>
          </p:cNvSpPr>
          <p:nvPr>
            <p:ph type="title"/>
          </p:nvPr>
        </p:nvSpPr>
        <p:spPr/>
        <p:txBody>
          <a:bodyPr/>
          <a:lstStyle/>
          <a:p>
            <a:r>
              <a:rPr lang="en-NL">
                <a:latin typeface="Lato" panose="020F0502020204030203" pitchFamily="34" charset="77"/>
              </a:rPr>
              <a:t>System Requirements</a:t>
            </a:r>
          </a:p>
        </p:txBody>
      </p:sp>
      <p:sp>
        <p:nvSpPr>
          <p:cNvPr id="7" name="Content Placeholder 6">
            <a:extLst>
              <a:ext uri="{FF2B5EF4-FFF2-40B4-BE49-F238E27FC236}">
                <a16:creationId xmlns:a16="http://schemas.microsoft.com/office/drawing/2014/main" id="{A489F5B9-7E72-5580-C7F0-BAD80B3FA9F6}"/>
              </a:ext>
            </a:extLst>
          </p:cNvPr>
          <p:cNvSpPr>
            <a:spLocks noGrp="1"/>
          </p:cNvSpPr>
          <p:nvPr>
            <p:ph sz="quarter" idx="13"/>
          </p:nvPr>
        </p:nvSpPr>
        <p:spPr/>
        <p:txBody>
          <a:bodyPr/>
          <a:lstStyle/>
          <a:p>
            <a:r>
              <a:rPr lang="en-NL" dirty="0">
                <a:latin typeface="Lato" panose="020F0502020204030203" pitchFamily="34" charset="77"/>
              </a:rPr>
              <a:t>Some programming experience</a:t>
            </a:r>
          </a:p>
          <a:p>
            <a:r>
              <a:rPr lang="en-NL" dirty="0">
                <a:latin typeface="Lato" panose="020F0502020204030203" pitchFamily="34" charset="77"/>
              </a:rPr>
              <a:t>OS: Windows / Linux / Macos</a:t>
            </a:r>
          </a:p>
          <a:p>
            <a:pPr lvl="1"/>
            <a:r>
              <a:rPr lang="en-NL" b="1" dirty="0">
                <a:latin typeface="Lato" panose="020F0502020204030203" pitchFamily="34" charset="77"/>
              </a:rPr>
              <a:t>Admin</a:t>
            </a:r>
            <a:r>
              <a:rPr lang="en-NL" dirty="0">
                <a:latin typeface="Lato" panose="020F0502020204030203" pitchFamily="34" charset="77"/>
              </a:rPr>
              <a:t> privileges required</a:t>
            </a:r>
            <a:endParaRPr lang="en-NL" b="1" dirty="0">
              <a:latin typeface="Lato" panose="020F0502020204030203" pitchFamily="34" charset="77"/>
            </a:endParaRPr>
          </a:p>
          <a:p>
            <a:pPr lvl="1"/>
            <a:r>
              <a:rPr lang="en-NL" b="1" dirty="0">
                <a:latin typeface="Lato" panose="020F0502020204030203" pitchFamily="34" charset="77"/>
              </a:rPr>
              <a:t>Macos Ventura </a:t>
            </a:r>
            <a:r>
              <a:rPr lang="en-NL" dirty="0">
                <a:latin typeface="Lato" panose="020F0502020204030203" pitchFamily="34" charset="77"/>
              </a:rPr>
              <a:t>required for M1/M2 macs</a:t>
            </a:r>
          </a:p>
          <a:p>
            <a:r>
              <a:rPr lang="en-NL" dirty="0">
                <a:latin typeface="Lato" panose="020F0502020204030203" pitchFamily="34" charset="77"/>
              </a:rPr>
              <a:t>Memory: </a:t>
            </a:r>
            <a:r>
              <a:rPr lang="en-NL" b="1" dirty="0">
                <a:latin typeface="Lato" panose="020F0502020204030203" pitchFamily="34" charset="77"/>
              </a:rPr>
              <a:t>16Gb</a:t>
            </a:r>
            <a:r>
              <a:rPr lang="en-NL" dirty="0">
                <a:latin typeface="Lato" panose="020F0502020204030203" pitchFamily="34" charset="77"/>
              </a:rPr>
              <a:t> ram or more</a:t>
            </a:r>
          </a:p>
          <a:p>
            <a:r>
              <a:rPr lang="en-NL" dirty="0">
                <a:latin typeface="Lato" panose="020F0502020204030203" pitchFamily="34" charset="77"/>
              </a:rPr>
              <a:t>Git / GitHub account</a:t>
            </a:r>
          </a:p>
          <a:p>
            <a:r>
              <a:rPr lang="en-NL" dirty="0">
                <a:latin typeface="Lato" panose="020F0502020204030203" pitchFamily="34" charset="77"/>
              </a:rPr>
              <a:t>Docker Desktop</a:t>
            </a:r>
          </a:p>
          <a:p>
            <a:r>
              <a:rPr lang="en-NL" dirty="0">
                <a:latin typeface="Lato" panose="020F0502020204030203" pitchFamily="34" charset="77"/>
              </a:rPr>
              <a:t>Python 3.11 </a:t>
            </a:r>
          </a:p>
        </p:txBody>
      </p:sp>
      <p:sp>
        <p:nvSpPr>
          <p:cNvPr id="5" name="Slide Number Placeholder 4">
            <a:extLst>
              <a:ext uri="{FF2B5EF4-FFF2-40B4-BE49-F238E27FC236}">
                <a16:creationId xmlns:a16="http://schemas.microsoft.com/office/drawing/2014/main" id="{1A2B60B7-CE77-6843-0FDC-A6C2152A2659}"/>
              </a:ext>
            </a:extLst>
          </p:cNvPr>
          <p:cNvSpPr>
            <a:spLocks noGrp="1"/>
          </p:cNvSpPr>
          <p:nvPr>
            <p:ph type="sldNum" sz="quarter" idx="4294967295"/>
          </p:nvPr>
        </p:nvSpPr>
        <p:spPr>
          <a:xfrm>
            <a:off x="9448800" y="6505575"/>
            <a:ext cx="2743200" cy="365125"/>
          </a:xfrm>
          <a:prstGeom prst="rect">
            <a:avLst/>
          </a:prstGeom>
        </p:spPr>
        <p:txBody>
          <a:bodyPr/>
          <a:lstStyle/>
          <a:p>
            <a:fld id="{693D370C-058D-F24E-8416-E454F8EEB994}" type="slidenum">
              <a:rPr lang="en-US" smtClean="0"/>
              <a:pPr/>
              <a:t>8</a:t>
            </a:fld>
            <a:endParaRPr lang="en-US" dirty="0"/>
          </a:p>
        </p:txBody>
      </p:sp>
    </p:spTree>
    <p:extLst>
      <p:ext uri="{BB962C8B-B14F-4D97-AF65-F5344CB8AC3E}">
        <p14:creationId xmlns:p14="http://schemas.microsoft.com/office/powerpoint/2010/main" val="3498608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5421614-BA6C-45CC-6930-80E139B8432A}"/>
              </a:ext>
            </a:extLst>
          </p:cNvPr>
          <p:cNvSpPr>
            <a:spLocks noGrp="1"/>
          </p:cNvSpPr>
          <p:nvPr>
            <p:ph type="ftr" sz="quarter" idx="10"/>
          </p:nvPr>
        </p:nvSpPr>
        <p:spPr/>
        <p:txBody>
          <a:bodyPr/>
          <a:lstStyle/>
          <a:p>
            <a:endParaRPr lang="en-US" dirty="0"/>
          </a:p>
        </p:txBody>
      </p:sp>
      <p:sp>
        <p:nvSpPr>
          <p:cNvPr id="3" name="Title 2">
            <a:extLst>
              <a:ext uri="{FF2B5EF4-FFF2-40B4-BE49-F238E27FC236}">
                <a16:creationId xmlns:a16="http://schemas.microsoft.com/office/drawing/2014/main" id="{8BAB0319-7B6D-FE88-4841-FA29C5EBA3A4}"/>
              </a:ext>
            </a:extLst>
          </p:cNvPr>
          <p:cNvSpPr>
            <a:spLocks noGrp="1"/>
          </p:cNvSpPr>
          <p:nvPr>
            <p:ph type="title"/>
          </p:nvPr>
        </p:nvSpPr>
        <p:spPr/>
        <p:txBody>
          <a:bodyPr/>
          <a:lstStyle/>
          <a:p>
            <a:r>
              <a:rPr lang="en-NL" dirty="0">
                <a:latin typeface="Lato" panose="020F0502020204030203" pitchFamily="34" charset="77"/>
              </a:rPr>
              <a:t>What the SDK is about</a:t>
            </a:r>
          </a:p>
        </p:txBody>
      </p:sp>
      <p:sp>
        <p:nvSpPr>
          <p:cNvPr id="7" name="Content Placeholder 6">
            <a:extLst>
              <a:ext uri="{FF2B5EF4-FFF2-40B4-BE49-F238E27FC236}">
                <a16:creationId xmlns:a16="http://schemas.microsoft.com/office/drawing/2014/main" id="{A489F5B9-7E72-5580-C7F0-BAD80B3FA9F6}"/>
              </a:ext>
            </a:extLst>
          </p:cNvPr>
          <p:cNvSpPr>
            <a:spLocks noGrp="1"/>
          </p:cNvSpPr>
          <p:nvPr>
            <p:ph sz="quarter" idx="13"/>
          </p:nvPr>
        </p:nvSpPr>
        <p:spPr/>
        <p:txBody>
          <a:bodyPr/>
          <a:lstStyle/>
          <a:p>
            <a:pPr marL="176213" indent="0">
              <a:buNone/>
            </a:pPr>
            <a:r>
              <a:rPr lang="en-US" sz="1400" noProof="1">
                <a:solidFill>
                  <a:srgbClr val="0033B3"/>
                </a:solidFill>
                <a:effectLst/>
                <a:latin typeface="JetBrains Mono"/>
              </a:rPr>
              <a:t>import </a:t>
            </a:r>
            <a:r>
              <a:rPr lang="en-US" sz="1400" noProof="1">
                <a:solidFill>
                  <a:srgbClr val="080808"/>
                </a:solidFill>
                <a:effectLst/>
                <a:latin typeface="JetBrains Mono"/>
              </a:rPr>
              <a:t>unittest</a:t>
            </a:r>
            <a:br>
              <a:rPr lang="en-US" sz="1400" noProof="1">
                <a:solidFill>
                  <a:srgbClr val="080808"/>
                </a:solidFill>
                <a:effectLst/>
                <a:latin typeface="JetBrains Mono"/>
              </a:rPr>
            </a:br>
            <a:r>
              <a:rPr lang="en-US" sz="1400" noProof="1">
                <a:solidFill>
                  <a:srgbClr val="0033B3"/>
                </a:solidFill>
                <a:effectLst/>
                <a:latin typeface="JetBrains Mono"/>
              </a:rPr>
              <a:t>from </a:t>
            </a:r>
            <a:r>
              <a:rPr lang="en-US" sz="1400" noProof="1">
                <a:solidFill>
                  <a:srgbClr val="080808"/>
                </a:solidFill>
                <a:effectLst/>
                <a:latin typeface="JetBrains Mono"/>
              </a:rPr>
              <a:t>src.jenkins_tasks </a:t>
            </a:r>
            <a:r>
              <a:rPr lang="en-US" sz="1400" noProof="1">
                <a:solidFill>
                  <a:srgbClr val="0033B3"/>
                </a:solidFill>
                <a:effectLst/>
                <a:latin typeface="JetBrains Mono"/>
              </a:rPr>
              <a:t>import </a:t>
            </a:r>
            <a:r>
              <a:rPr lang="en-US" sz="1400" noProof="1">
                <a:solidFill>
                  <a:srgbClr val="080808"/>
                </a:solidFill>
                <a:effectLst/>
                <a:latin typeface="JetBrains Mono"/>
              </a:rPr>
              <a:t>DevOpsJenkins</a:t>
            </a:r>
            <a:endParaRPr lang="en-US" sz="1400" noProof="1">
              <a:solidFill>
                <a:srgbClr val="080808"/>
              </a:solidFill>
              <a:latin typeface="JetBrains Mono"/>
            </a:endParaRPr>
          </a:p>
          <a:p>
            <a:pPr marL="176213" indent="0">
              <a:buNone/>
            </a:pPr>
            <a:br>
              <a:rPr lang="en-US" sz="1400" noProof="1">
                <a:solidFill>
                  <a:srgbClr val="080808"/>
                </a:solidFill>
                <a:effectLst/>
                <a:latin typeface="JetBrains Mono"/>
              </a:rPr>
            </a:br>
            <a:r>
              <a:rPr lang="en-US" sz="1400" noProof="1">
                <a:solidFill>
                  <a:srgbClr val="0033B3"/>
                </a:solidFill>
                <a:effectLst/>
                <a:latin typeface="JetBrains Mono"/>
              </a:rPr>
              <a:t>class </a:t>
            </a:r>
            <a:r>
              <a:rPr lang="en-US" sz="1400" noProof="1">
                <a:solidFill>
                  <a:srgbClr val="000000"/>
                </a:solidFill>
                <a:effectLst/>
                <a:latin typeface="JetBrains Mono"/>
              </a:rPr>
              <a:t>TestJenkins</a:t>
            </a:r>
            <a:r>
              <a:rPr lang="en-US" sz="1400" noProof="1">
                <a:solidFill>
                  <a:srgbClr val="080808"/>
                </a:solidFill>
                <a:effectLst/>
                <a:latin typeface="JetBrains Mono"/>
              </a:rPr>
              <a:t>(unittest.TestCase):</a:t>
            </a:r>
            <a:br>
              <a:rPr lang="en-US" sz="1400" noProof="1">
                <a:solidFill>
                  <a:srgbClr val="080808"/>
                </a:solidFill>
                <a:effectLst/>
                <a:latin typeface="JetBrains Mono"/>
              </a:rPr>
            </a:br>
            <a:br>
              <a:rPr lang="en-US" sz="1400" noProof="1">
                <a:solidFill>
                  <a:srgbClr val="080808"/>
                </a:solidFill>
                <a:effectLst/>
                <a:latin typeface="JetBrains Mono"/>
              </a:rPr>
            </a:br>
            <a:r>
              <a:rPr lang="en-US" sz="1400" noProof="1">
                <a:solidFill>
                  <a:srgbClr val="080808"/>
                </a:solidFill>
                <a:effectLst/>
                <a:latin typeface="JetBrains Mono"/>
              </a:rPr>
              <a:t>    </a:t>
            </a:r>
            <a:r>
              <a:rPr lang="en-US" sz="1400" noProof="1">
                <a:solidFill>
                  <a:srgbClr val="0033B3"/>
                </a:solidFill>
                <a:effectLst/>
                <a:latin typeface="JetBrains Mono"/>
              </a:rPr>
              <a:t>def </a:t>
            </a:r>
            <a:r>
              <a:rPr lang="en-US" sz="1400" noProof="1">
                <a:solidFill>
                  <a:srgbClr val="00627A"/>
                </a:solidFill>
                <a:effectLst/>
                <a:latin typeface="JetBrains Mono"/>
              </a:rPr>
              <a:t>test_build</a:t>
            </a:r>
            <a:r>
              <a:rPr lang="en-US" sz="1400" noProof="1">
                <a:solidFill>
                  <a:srgbClr val="080808"/>
                </a:solidFill>
                <a:effectLst/>
                <a:latin typeface="JetBrains Mono"/>
              </a:rPr>
              <a:t>(</a:t>
            </a:r>
            <a:r>
              <a:rPr lang="en-US" sz="1400" noProof="1">
                <a:solidFill>
                  <a:srgbClr val="94558D"/>
                </a:solidFill>
                <a:effectLst/>
                <a:latin typeface="JetBrains Mono"/>
              </a:rPr>
              <a:t>self</a:t>
            </a:r>
            <a:r>
              <a:rPr lang="en-US" sz="1400" noProof="1">
                <a:solidFill>
                  <a:srgbClr val="080808"/>
                </a:solidFill>
                <a:effectLst/>
                <a:latin typeface="JetBrains Mono"/>
              </a:rPr>
              <a:t>):</a:t>
            </a:r>
            <a:br>
              <a:rPr lang="en-US" sz="1400" noProof="1">
                <a:solidFill>
                  <a:srgbClr val="080808"/>
                </a:solidFill>
                <a:effectLst/>
                <a:latin typeface="JetBrains Mono"/>
              </a:rPr>
            </a:br>
            <a:br>
              <a:rPr lang="en-US" sz="1400" noProof="1">
                <a:solidFill>
                  <a:srgbClr val="080808"/>
                </a:solidFill>
                <a:effectLst/>
                <a:latin typeface="JetBrains Mono"/>
              </a:rPr>
            </a:br>
            <a:r>
              <a:rPr lang="en-US" sz="1400" noProof="1">
                <a:solidFill>
                  <a:srgbClr val="080808"/>
                </a:solidFill>
                <a:effectLst/>
                <a:latin typeface="JetBrains Mono"/>
              </a:rPr>
              <a:t>        </a:t>
            </a:r>
            <a:r>
              <a:rPr lang="en-US" sz="1400" i="1" noProof="1">
                <a:solidFill>
                  <a:srgbClr val="8C8C8C"/>
                </a:solidFill>
                <a:effectLst/>
                <a:latin typeface="JetBrains Mono"/>
              </a:rPr>
              <a:t># Given</a:t>
            </a:r>
            <a:br>
              <a:rPr lang="en-US" sz="1400" i="1" noProof="1">
                <a:solidFill>
                  <a:srgbClr val="8C8C8C"/>
                </a:solidFill>
                <a:effectLst/>
                <a:latin typeface="JetBrains Mono"/>
              </a:rPr>
            </a:br>
            <a:r>
              <a:rPr lang="en-US" sz="1400" i="1" noProof="1">
                <a:solidFill>
                  <a:srgbClr val="8C8C8C"/>
                </a:solidFill>
                <a:effectLst/>
                <a:latin typeface="JetBrains Mono"/>
              </a:rPr>
              <a:t>        </a:t>
            </a:r>
            <a:r>
              <a:rPr lang="en-US" sz="1400" noProof="1">
                <a:solidFill>
                  <a:srgbClr val="080808"/>
                </a:solidFill>
                <a:effectLst/>
                <a:latin typeface="JetBrains Mono"/>
              </a:rPr>
              <a:t>task = DevOpsJenkins()</a:t>
            </a:r>
            <a:br>
              <a:rPr lang="en-US" sz="1400" noProof="1">
                <a:solidFill>
                  <a:srgbClr val="080808"/>
                </a:solidFill>
                <a:effectLst/>
                <a:latin typeface="JetBrains Mono"/>
              </a:rPr>
            </a:br>
            <a:r>
              <a:rPr lang="en-US" sz="1400" noProof="1">
                <a:solidFill>
                  <a:srgbClr val="080808"/>
                </a:solidFill>
                <a:effectLst/>
                <a:latin typeface="JetBrains Mono"/>
              </a:rPr>
              <a:t>        task.input_properties = {</a:t>
            </a:r>
            <a:br>
              <a:rPr lang="en-US" sz="1400" noProof="1">
                <a:solidFill>
                  <a:srgbClr val="080808"/>
                </a:solidFill>
                <a:effectLst/>
                <a:latin typeface="JetBrains Mono"/>
              </a:rPr>
            </a:br>
            <a:r>
              <a:rPr lang="en-US" sz="1400" noProof="1">
                <a:solidFill>
                  <a:srgbClr val="080808"/>
                </a:solidFill>
                <a:effectLst/>
                <a:latin typeface="JetBrains Mono"/>
              </a:rPr>
              <a:t>                </a:t>
            </a:r>
            <a:r>
              <a:rPr lang="en-US" sz="1400" noProof="1">
                <a:solidFill>
                  <a:srgbClr val="067D17"/>
                </a:solidFill>
                <a:effectLst/>
                <a:latin typeface="JetBrains Mono"/>
              </a:rPr>
              <a:t>'url'</a:t>
            </a:r>
            <a:r>
              <a:rPr lang="en-US" sz="1400" noProof="1">
                <a:solidFill>
                  <a:srgbClr val="080808"/>
                </a:solidFill>
                <a:effectLst/>
                <a:latin typeface="JetBrains Mono"/>
              </a:rPr>
              <a:t>: </a:t>
            </a:r>
            <a:r>
              <a:rPr lang="en-US" sz="1400" noProof="1">
                <a:solidFill>
                  <a:srgbClr val="067D17"/>
                </a:solidFill>
                <a:effectLst/>
                <a:latin typeface="JetBrains Mono"/>
              </a:rPr>
              <a:t>'http://localhost:8080'</a:t>
            </a:r>
            <a:r>
              <a:rPr lang="en-US" sz="1400" noProof="1">
                <a:solidFill>
                  <a:srgbClr val="080808"/>
                </a:solidFill>
                <a:effectLst/>
                <a:latin typeface="JetBrains Mono"/>
              </a:rPr>
              <a:t>,</a:t>
            </a:r>
            <a:br>
              <a:rPr lang="en-US" sz="1400" noProof="1">
                <a:solidFill>
                  <a:srgbClr val="080808"/>
                </a:solidFill>
                <a:effectLst/>
                <a:latin typeface="JetBrains Mono"/>
              </a:rPr>
            </a:br>
            <a:r>
              <a:rPr lang="en-US" sz="1400" noProof="1">
                <a:solidFill>
                  <a:srgbClr val="080808"/>
                </a:solidFill>
                <a:effectLst/>
                <a:latin typeface="JetBrains Mono"/>
              </a:rPr>
              <a:t>                </a:t>
            </a:r>
            <a:r>
              <a:rPr lang="en-US" sz="1400" noProof="1">
                <a:solidFill>
                  <a:srgbClr val="067D17"/>
                </a:solidFill>
                <a:effectLst/>
                <a:latin typeface="JetBrains Mono"/>
              </a:rPr>
              <a:t>'username'</a:t>
            </a:r>
            <a:r>
              <a:rPr lang="en-US" sz="1400" noProof="1">
                <a:solidFill>
                  <a:srgbClr val="080808"/>
                </a:solidFill>
                <a:effectLst/>
                <a:latin typeface="JetBrains Mono"/>
              </a:rPr>
              <a:t>: </a:t>
            </a:r>
            <a:r>
              <a:rPr lang="en-US" sz="1400" noProof="1">
                <a:solidFill>
                  <a:srgbClr val="067D17"/>
                </a:solidFill>
                <a:effectLst/>
                <a:latin typeface="JetBrains Mono"/>
              </a:rPr>
              <a:t>'admin'</a:t>
            </a:r>
            <a:r>
              <a:rPr lang="en-US" sz="1400" noProof="1">
                <a:solidFill>
                  <a:srgbClr val="080808"/>
                </a:solidFill>
                <a:effectLst/>
                <a:latin typeface="JetBrains Mono"/>
              </a:rPr>
              <a:t>,</a:t>
            </a:r>
            <a:br>
              <a:rPr lang="en-US" sz="1400" noProof="1">
                <a:solidFill>
                  <a:srgbClr val="080808"/>
                </a:solidFill>
                <a:effectLst/>
                <a:latin typeface="JetBrains Mono"/>
              </a:rPr>
            </a:br>
            <a:r>
              <a:rPr lang="en-US" sz="1400" noProof="1">
                <a:solidFill>
                  <a:srgbClr val="080808"/>
                </a:solidFill>
                <a:effectLst/>
                <a:latin typeface="JetBrains Mono"/>
              </a:rPr>
              <a:t>                </a:t>
            </a:r>
            <a:r>
              <a:rPr lang="en-US" sz="1400" noProof="1">
                <a:solidFill>
                  <a:srgbClr val="067D17"/>
                </a:solidFill>
                <a:effectLst/>
                <a:latin typeface="JetBrains Mono"/>
              </a:rPr>
              <a:t>'password'</a:t>
            </a:r>
            <a:r>
              <a:rPr lang="en-US" sz="1400" noProof="1">
                <a:solidFill>
                  <a:srgbClr val="080808"/>
                </a:solidFill>
                <a:effectLst/>
                <a:latin typeface="JetBrains Mono"/>
              </a:rPr>
              <a:t>: </a:t>
            </a:r>
            <a:r>
              <a:rPr lang="en-US" sz="1400" noProof="1">
                <a:solidFill>
                  <a:srgbClr val="067D17"/>
                </a:solidFill>
                <a:effectLst/>
                <a:latin typeface="JetBrains Mono"/>
              </a:rPr>
              <a:t>'admin'</a:t>
            </a:r>
            <a:br>
              <a:rPr lang="en-US" sz="1400" noProof="1">
                <a:solidFill>
                  <a:srgbClr val="067D17"/>
                </a:solidFill>
                <a:effectLst/>
                <a:latin typeface="JetBrains Mono"/>
              </a:rPr>
            </a:br>
            <a:r>
              <a:rPr lang="en-US" sz="1400" noProof="1">
                <a:solidFill>
                  <a:srgbClr val="067D17"/>
                </a:solidFill>
                <a:effectLst/>
                <a:latin typeface="JetBrains Mono"/>
              </a:rPr>
              <a:t>        </a:t>
            </a:r>
            <a:r>
              <a:rPr lang="en-US" sz="1400" noProof="1">
                <a:solidFill>
                  <a:srgbClr val="080808"/>
                </a:solidFill>
                <a:effectLst/>
                <a:latin typeface="JetBrains Mono"/>
              </a:rPr>
              <a:t>}</a:t>
            </a:r>
            <a:br>
              <a:rPr lang="en-US" sz="1400" noProof="1">
                <a:solidFill>
                  <a:srgbClr val="080808"/>
                </a:solidFill>
                <a:effectLst/>
                <a:latin typeface="JetBrains Mono"/>
              </a:rPr>
            </a:br>
            <a:br>
              <a:rPr lang="en-US" sz="1400" noProof="1">
                <a:solidFill>
                  <a:srgbClr val="080808"/>
                </a:solidFill>
                <a:effectLst/>
                <a:latin typeface="JetBrains Mono"/>
              </a:rPr>
            </a:br>
            <a:r>
              <a:rPr lang="en-US" sz="1400" noProof="1">
                <a:solidFill>
                  <a:srgbClr val="080808"/>
                </a:solidFill>
                <a:effectLst/>
                <a:latin typeface="JetBrains Mono"/>
              </a:rPr>
              <a:t>        </a:t>
            </a:r>
            <a:r>
              <a:rPr lang="en-US" sz="1400" i="1" noProof="1">
                <a:solidFill>
                  <a:srgbClr val="8C8C8C"/>
                </a:solidFill>
                <a:effectLst/>
                <a:latin typeface="JetBrains Mono"/>
              </a:rPr>
              <a:t># When</a:t>
            </a:r>
            <a:br>
              <a:rPr lang="en-US" sz="1400" i="1" noProof="1">
                <a:solidFill>
                  <a:srgbClr val="8C8C8C"/>
                </a:solidFill>
                <a:effectLst/>
                <a:latin typeface="JetBrains Mono"/>
              </a:rPr>
            </a:br>
            <a:r>
              <a:rPr lang="en-US" sz="1400" i="1" noProof="1">
                <a:solidFill>
                  <a:srgbClr val="8C8C8C"/>
                </a:solidFill>
                <a:effectLst/>
                <a:latin typeface="JetBrains Mono"/>
              </a:rPr>
              <a:t>        </a:t>
            </a:r>
            <a:r>
              <a:rPr lang="en-US" sz="1400" noProof="1">
                <a:solidFill>
                  <a:srgbClr val="080808"/>
                </a:solidFill>
                <a:effectLst/>
                <a:latin typeface="JetBrains Mono"/>
              </a:rPr>
              <a:t>task.execute_task()</a:t>
            </a:r>
            <a:br>
              <a:rPr lang="en-US" sz="1400" noProof="1">
                <a:solidFill>
                  <a:srgbClr val="080808"/>
                </a:solidFill>
                <a:effectLst/>
                <a:latin typeface="JetBrains Mono"/>
              </a:rPr>
            </a:br>
            <a:br>
              <a:rPr lang="en-US" sz="1400" noProof="1">
                <a:solidFill>
                  <a:srgbClr val="080808"/>
                </a:solidFill>
                <a:effectLst/>
                <a:latin typeface="JetBrains Mono"/>
              </a:rPr>
            </a:br>
            <a:r>
              <a:rPr lang="en-US" sz="1400" noProof="1">
                <a:solidFill>
                  <a:srgbClr val="080808"/>
                </a:solidFill>
                <a:effectLst/>
                <a:latin typeface="JetBrains Mono"/>
              </a:rPr>
              <a:t>        </a:t>
            </a:r>
            <a:r>
              <a:rPr lang="en-US" sz="1400" i="1" noProof="1">
                <a:solidFill>
                  <a:srgbClr val="8C8C8C"/>
                </a:solidFill>
                <a:effectLst/>
                <a:latin typeface="JetBrains Mono"/>
              </a:rPr>
              <a:t># Then</a:t>
            </a:r>
            <a:br>
              <a:rPr lang="en-US" sz="1400" i="1" noProof="1">
                <a:solidFill>
                  <a:srgbClr val="8C8C8C"/>
                </a:solidFill>
                <a:effectLst/>
                <a:latin typeface="JetBrains Mono"/>
              </a:rPr>
            </a:br>
            <a:r>
              <a:rPr lang="en-US" sz="1400" i="1" noProof="1">
                <a:solidFill>
                  <a:srgbClr val="8C8C8C"/>
                </a:solidFill>
                <a:effectLst/>
                <a:latin typeface="JetBrains Mono"/>
              </a:rPr>
              <a:t>        </a:t>
            </a:r>
            <a:r>
              <a:rPr lang="en-US" sz="1400" noProof="1">
                <a:solidFill>
                  <a:srgbClr val="94558D"/>
                </a:solidFill>
                <a:effectLst/>
                <a:latin typeface="JetBrains Mono"/>
              </a:rPr>
              <a:t>self</a:t>
            </a:r>
            <a:r>
              <a:rPr lang="en-US" sz="1400" noProof="1">
                <a:solidFill>
                  <a:srgbClr val="080808"/>
                </a:solidFill>
                <a:effectLst/>
                <a:latin typeface="JetBrains Mono"/>
              </a:rPr>
              <a:t>.assertEqual(task.get_output_properties()[</a:t>
            </a:r>
            <a:r>
              <a:rPr lang="en-US" sz="1400" noProof="1">
                <a:solidFill>
                  <a:srgbClr val="067D17"/>
                </a:solidFill>
                <a:effectLst/>
                <a:latin typeface="JetBrains Mono"/>
              </a:rPr>
              <a:t>'response'</a:t>
            </a:r>
            <a:r>
              <a:rPr lang="en-US" sz="1400" noProof="1">
                <a:solidFill>
                  <a:srgbClr val="080808"/>
                </a:solidFill>
                <a:effectLst/>
                <a:latin typeface="JetBrains Mono"/>
              </a:rPr>
              <a:t>], </a:t>
            </a:r>
            <a:r>
              <a:rPr lang="en-US" sz="1400" noProof="1">
                <a:solidFill>
                  <a:srgbClr val="067D17"/>
                </a:solidFill>
                <a:effectLst/>
                <a:latin typeface="JetBrains Mono"/>
              </a:rPr>
              <a:t>'SUCCESS'</a:t>
            </a:r>
            <a:r>
              <a:rPr lang="en-US" sz="1400" noProof="1">
                <a:solidFill>
                  <a:srgbClr val="080808"/>
                </a:solidFill>
                <a:effectLst/>
                <a:latin typeface="JetBrains Mono"/>
              </a:rPr>
              <a:t>)</a:t>
            </a:r>
          </a:p>
          <a:p>
            <a:pPr marL="176213" indent="0">
              <a:buNone/>
            </a:pPr>
            <a:endParaRPr lang="en-US" noProof="1">
              <a:latin typeface="Lato" panose="020F0502020204030203" pitchFamily="34" charset="77"/>
            </a:endParaRPr>
          </a:p>
        </p:txBody>
      </p:sp>
      <p:sp>
        <p:nvSpPr>
          <p:cNvPr id="5" name="Slide Number Placeholder 4">
            <a:extLst>
              <a:ext uri="{FF2B5EF4-FFF2-40B4-BE49-F238E27FC236}">
                <a16:creationId xmlns:a16="http://schemas.microsoft.com/office/drawing/2014/main" id="{1A2B60B7-CE77-6843-0FDC-A6C2152A2659}"/>
              </a:ext>
            </a:extLst>
          </p:cNvPr>
          <p:cNvSpPr>
            <a:spLocks noGrp="1"/>
          </p:cNvSpPr>
          <p:nvPr>
            <p:ph type="sldNum" sz="quarter" idx="4294967295"/>
          </p:nvPr>
        </p:nvSpPr>
        <p:spPr>
          <a:xfrm>
            <a:off x="9448800" y="6505575"/>
            <a:ext cx="2743200" cy="365125"/>
          </a:xfrm>
          <a:prstGeom prst="rect">
            <a:avLst/>
          </a:prstGeom>
        </p:spPr>
        <p:txBody>
          <a:bodyPr/>
          <a:lstStyle/>
          <a:p>
            <a:fld id="{693D370C-058D-F24E-8416-E454F8EEB994}" type="slidenum">
              <a:rPr lang="en-US" smtClean="0"/>
              <a:pPr/>
              <a:t>9</a:t>
            </a:fld>
            <a:endParaRPr lang="en-US"/>
          </a:p>
        </p:txBody>
      </p:sp>
    </p:spTree>
    <p:extLst>
      <p:ext uri="{BB962C8B-B14F-4D97-AF65-F5344CB8AC3E}">
        <p14:creationId xmlns:p14="http://schemas.microsoft.com/office/powerpoint/2010/main" val="4044926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gital.ai - PPT Template - 10-Apr">
  <a:themeElements>
    <a:clrScheme name="DAI-Colors">
      <a:dk1>
        <a:srgbClr val="000000"/>
      </a:dk1>
      <a:lt1>
        <a:srgbClr val="FFFFFF"/>
      </a:lt1>
      <a:dk2>
        <a:srgbClr val="7F7F7F"/>
      </a:dk2>
      <a:lt2>
        <a:srgbClr val="F3F3F3"/>
      </a:lt2>
      <a:accent1>
        <a:srgbClr val="649A3C"/>
      </a:accent1>
      <a:accent2>
        <a:srgbClr val="DB6147"/>
      </a:accent2>
      <a:accent3>
        <a:srgbClr val="2059B7"/>
      </a:accent3>
      <a:accent4>
        <a:srgbClr val="279FEA"/>
      </a:accent4>
      <a:accent5>
        <a:srgbClr val="33D389"/>
      </a:accent5>
      <a:accent6>
        <a:srgbClr val="F7B730"/>
      </a:accent6>
      <a:hlink>
        <a:srgbClr val="2059B7"/>
      </a:hlink>
      <a:folHlink>
        <a:srgbClr val="6C619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solidFill>
            <a:schemeClr val="accent1"/>
          </a:solidFill>
        </a:ln>
      </a:spPr>
      <a:bodyPr wrap="square" rtlCol="0" anchor="ctr">
        <a:noAutofit/>
      </a:bodyPr>
      <a:lstStyle>
        <a:defPPr algn="ctr">
          <a:defRPr dirty="0" smtClean="0">
            <a:solidFill>
              <a:schemeClr val="bg1"/>
            </a:solidFill>
            <a:latin typeface="+mj-lt"/>
          </a:defRPr>
        </a:defPPr>
      </a:lstStyle>
    </a:spDef>
    <a:txDef>
      <a:spPr>
        <a:noFill/>
      </a:spPr>
      <a:bodyPr wrap="square" rtlCol="0">
        <a:spAutoFit/>
      </a:bodyPr>
      <a:lstStyle>
        <a:defPPr algn="l">
          <a:defRPr dirty="0" err="1" smtClean="0">
            <a:latin typeface="+mj-lt"/>
          </a:defRPr>
        </a:defPPr>
      </a:lstStyle>
    </a:txDef>
  </a:objectDefaults>
  <a:extraClrSchemeLst/>
  <a:extLst>
    <a:ext uri="{05A4C25C-085E-4340-85A3-A5531E510DB2}">
      <thm15:themeFamily xmlns:thm15="http://schemas.microsoft.com/office/thememl/2012/main" name="Digital.ai-Corporate-Overview-Deck" id="{D1E4199A-EBA8-0844-8B3D-14FB6943C7E7}" vid="{92EC2132-548A-1C41-BD8F-6145A352D308}"/>
    </a:ext>
  </a:extLst>
</a:theme>
</file>

<file path=ppt/theme/theme2.xml><?xml version="1.0" encoding="utf-8"?>
<a:theme xmlns:a="http://schemas.openxmlformats.org/drawingml/2006/main" name="15_Force Management Master">
  <a:themeElements>
    <a:clrScheme name="Force Management">
      <a:dk1>
        <a:srgbClr val="434343"/>
      </a:dk1>
      <a:lt1>
        <a:sysClr val="window" lastClr="FFFFFF"/>
      </a:lt1>
      <a:dk2>
        <a:srgbClr val="0574A7"/>
      </a:dk2>
      <a:lt2>
        <a:srgbClr val="FFFFFF"/>
      </a:lt2>
      <a:accent1>
        <a:srgbClr val="00ACC8"/>
      </a:accent1>
      <a:accent2>
        <a:srgbClr val="0574A7"/>
      </a:accent2>
      <a:accent3>
        <a:srgbClr val="002453"/>
      </a:accent3>
      <a:accent4>
        <a:srgbClr val="97C000"/>
      </a:accent4>
      <a:accent5>
        <a:srgbClr val="FF4C00"/>
      </a:accent5>
      <a:accent6>
        <a:srgbClr val="777777"/>
      </a:accent6>
      <a:hlink>
        <a:srgbClr val="F89A20"/>
      </a:hlink>
      <a:folHlink>
        <a:srgbClr val="F89A2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28575">
          <a:solidFill>
            <a:schemeClr val="accent3"/>
          </a:solidFill>
          <a:prstDash val="sysDash"/>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Digital.ai-Corporate-Overview-Deck" id="{D1E4199A-EBA8-0844-8B3D-14FB6943C7E7}" vid="{606B3DBD-5036-6341-8565-97897FC8BF81}"/>
    </a:ext>
  </a:extLst>
</a:theme>
</file>

<file path=ppt/theme/theme3.xml><?xml version="1.0" encoding="utf-8"?>
<a:theme xmlns:a="http://schemas.openxmlformats.org/drawingml/2006/main" name="Force Management Master">
  <a:themeElements>
    <a:clrScheme name="Force Management">
      <a:dk1>
        <a:srgbClr val="434343"/>
      </a:dk1>
      <a:lt1>
        <a:sysClr val="window" lastClr="FFFFFF"/>
      </a:lt1>
      <a:dk2>
        <a:srgbClr val="0574A7"/>
      </a:dk2>
      <a:lt2>
        <a:srgbClr val="FFFFFF"/>
      </a:lt2>
      <a:accent1>
        <a:srgbClr val="00ACC8"/>
      </a:accent1>
      <a:accent2>
        <a:srgbClr val="0574A7"/>
      </a:accent2>
      <a:accent3>
        <a:srgbClr val="002453"/>
      </a:accent3>
      <a:accent4>
        <a:srgbClr val="97C000"/>
      </a:accent4>
      <a:accent5>
        <a:srgbClr val="FF4C00"/>
      </a:accent5>
      <a:accent6>
        <a:srgbClr val="777777"/>
      </a:accent6>
      <a:hlink>
        <a:srgbClr val="F89A20"/>
      </a:hlink>
      <a:folHlink>
        <a:srgbClr val="F89A2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igital.ai-Corporate-Overview-Deck" id="{D1E4199A-EBA8-0844-8B3D-14FB6943C7E7}" vid="{5836A18A-AF3E-DF40-99C5-BEB732CC43C6}"/>
    </a:ext>
  </a:extLst>
</a:theme>
</file>

<file path=ppt/theme/theme4.xml><?xml version="1.0" encoding="utf-8"?>
<a:theme xmlns:a="http://schemas.openxmlformats.org/drawingml/2006/main" name="1_Digital.ai - PPT Template - 10-Apr">
  <a:themeElements>
    <a:clrScheme name="DAI-Colors">
      <a:dk1>
        <a:srgbClr val="000000"/>
      </a:dk1>
      <a:lt1>
        <a:srgbClr val="FFFFFF"/>
      </a:lt1>
      <a:dk2>
        <a:srgbClr val="7F7F7F"/>
      </a:dk2>
      <a:lt2>
        <a:srgbClr val="F3F3F3"/>
      </a:lt2>
      <a:accent1>
        <a:srgbClr val="649A3C"/>
      </a:accent1>
      <a:accent2>
        <a:srgbClr val="DB6147"/>
      </a:accent2>
      <a:accent3>
        <a:srgbClr val="2059B7"/>
      </a:accent3>
      <a:accent4>
        <a:srgbClr val="279FEA"/>
      </a:accent4>
      <a:accent5>
        <a:srgbClr val="33D389"/>
      </a:accent5>
      <a:accent6>
        <a:srgbClr val="F7B730"/>
      </a:accent6>
      <a:hlink>
        <a:srgbClr val="2059B7"/>
      </a:hlink>
      <a:folHlink>
        <a:srgbClr val="6C619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wrap="none" rtlCol="0" anchor="ctr">
        <a:spAutoFit/>
      </a:bodyPr>
      <a:lstStyle>
        <a:defPPr algn="l">
          <a:defRPr dirty="0">
            <a:latin typeface="+mj-lt"/>
          </a:defRPr>
        </a:defPPr>
      </a:lstStyle>
    </a:spDef>
    <a:txDef>
      <a:spPr>
        <a:noFill/>
      </a:spPr>
      <a:bodyPr wrap="square" rtlCol="0">
        <a:spAutoFit/>
      </a:bodyPr>
      <a:lstStyle>
        <a:defPPr algn="l">
          <a:defRPr dirty="0" err="1" smtClean="0">
            <a:latin typeface="+mj-lt"/>
          </a:defRPr>
        </a:defPPr>
      </a:lstStyle>
    </a:txDef>
  </a:objectDefaults>
  <a:extraClrSchemeLst/>
  <a:extLst>
    <a:ext uri="{05A4C25C-085E-4340-85A3-A5531E510DB2}">
      <thm15:themeFamily xmlns:thm15="http://schemas.microsoft.com/office/thememl/2012/main" name="Digital.ai-Corporate-Overview-Deck" id="{D1E4199A-EBA8-0844-8B3D-14FB6943C7E7}" vid="{962BCAC5-A8E4-FE4F-88C6-843B4887C9AF}"/>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3dcbc1d8-826d-45ca-8fc8-20a75c088b05">
      <UserInfo>
        <DisplayName>Z_Jennifer Staretorp</DisplayName>
        <AccountId>14</AccountId>
        <AccountType/>
      </UserInfo>
      <UserInfo>
        <DisplayName>SharingLinks.770ea927-d06e-44dc-be82-2a12835f3b90.OrganizationEdit.87656b4c-795b-4237-9ccd-f7be81ef5668</DisplayName>
        <AccountId>20</AccountId>
        <AccountType/>
      </UserInfo>
      <UserInfo>
        <DisplayName>Z_Whitney Stevenson</DisplayName>
        <AccountId>33</AccountId>
        <AccountType/>
      </UserInfo>
      <UserInfo>
        <DisplayName>Z_Samantha Suhajda</DisplayName>
        <AccountId>42</AccountId>
        <AccountType/>
      </UserInfo>
      <UserInfo>
        <DisplayName>SharingLinks.4e924550-fea5-4e8e-b8e0-1cd71427186c.OrganizationEdit.c0852810-848b-4be2-b8a1-862d4314e51e</DisplayName>
        <AccountId>35</AccountId>
        <AccountType/>
      </UserInfo>
      <UserInfo>
        <DisplayName>Z_Saleem Padani</DisplayName>
        <AccountId>1622</AccountId>
        <AccountType/>
      </UserInfo>
      <UserInfo>
        <DisplayName>Tina Sturgis</DisplayName>
        <AccountId>3152</AccountId>
        <AccountType/>
      </UserInfo>
      <UserInfo>
        <DisplayName>Derek Holt</DisplayName>
        <AccountId>208</AccountId>
        <AccountType/>
      </UserInfo>
      <UserInfo>
        <DisplayName>Ankur Trivedi</DisplayName>
        <AccountId>1906</AccountId>
        <AccountType/>
      </UserInfo>
      <UserInfo>
        <DisplayName>Z_James Marlow</DisplayName>
        <AccountId>3146</AccountId>
        <AccountType/>
      </UserInfo>
      <UserInfo>
        <DisplayName>Gary O'Hara</DisplayName>
        <AccountId>5881</AccountId>
        <AccountType/>
      </UserInfo>
    </SharedWithUsers>
    <TaxCatchAll xmlns="3dcbc1d8-826d-45ca-8fc8-20a75c088b05" xsi:nil="true"/>
    <lcf76f155ced4ddcb4097134ff3c332f xmlns="01ebed6b-ceab-44f2-acf7-1eadfe346bc6">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44CD55CC1FA7D479329284FBD1AF51B" ma:contentTypeVersion="16" ma:contentTypeDescription="Create a new document." ma:contentTypeScope="" ma:versionID="86a0be7e7c1dbf9cfa211170b32753c7">
  <xsd:schema xmlns:xsd="http://www.w3.org/2001/XMLSchema" xmlns:xs="http://www.w3.org/2001/XMLSchema" xmlns:p="http://schemas.microsoft.com/office/2006/metadata/properties" xmlns:ns2="01ebed6b-ceab-44f2-acf7-1eadfe346bc6" xmlns:ns3="3dcbc1d8-826d-45ca-8fc8-20a75c088b05" targetNamespace="http://schemas.microsoft.com/office/2006/metadata/properties" ma:root="true" ma:fieldsID="c14bbbdac812de0dc7aa6592566d45af" ns2:_="" ns3:_="">
    <xsd:import namespace="01ebed6b-ceab-44f2-acf7-1eadfe346bc6"/>
    <xsd:import namespace="3dcbc1d8-826d-45ca-8fc8-20a75c088b0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Locatio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1ebed6b-ceab-44f2-acf7-1eadfe346bc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39e57df-25f6-40ca-a0cc-023013d918d6"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dcbc1d8-826d-45ca-8fc8-20a75c088b05"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29eafc4-383f-42c4-adb7-5b9418b4919b}" ma:internalName="TaxCatchAll" ma:showField="CatchAllData" ma:web="3dcbc1d8-826d-45ca-8fc8-20a75c088b0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294D0CC-CA19-405D-9EB3-2F9175F8880A}">
  <ds:schemaRefs>
    <ds:schemaRef ds:uri="01ebed6b-ceab-44f2-acf7-1eadfe346bc6"/>
    <ds:schemaRef ds:uri="http://schemas.microsoft.com/office/2006/documentManagement/types"/>
    <ds:schemaRef ds:uri="3dcbc1d8-826d-45ca-8fc8-20a75c088b05"/>
    <ds:schemaRef ds:uri="http://www.w3.org/XML/1998/namespace"/>
    <ds:schemaRef ds:uri="http://purl.org/dc/elements/1.1/"/>
    <ds:schemaRef ds:uri="http://purl.org/dc/terms/"/>
    <ds:schemaRef ds:uri="http://schemas.microsoft.com/office/2006/metadata/properties"/>
    <ds:schemaRef ds:uri="http://schemas.microsoft.com/office/infopath/2007/PartnerControls"/>
    <ds:schemaRef ds:uri="http://schemas.openxmlformats.org/package/2006/metadata/core-properties"/>
    <ds:schemaRef ds:uri="http://purl.org/dc/dcmitype/"/>
  </ds:schemaRefs>
</ds:datastoreItem>
</file>

<file path=customXml/itemProps2.xml><?xml version="1.0" encoding="utf-8"?>
<ds:datastoreItem xmlns:ds="http://schemas.openxmlformats.org/officeDocument/2006/customXml" ds:itemID="{94291529-124D-4D35-9BA7-37C8CE29DBAF}">
  <ds:schemaRefs>
    <ds:schemaRef ds:uri="http://schemas.microsoft.com/sharepoint/v3/contenttype/forms"/>
  </ds:schemaRefs>
</ds:datastoreItem>
</file>

<file path=customXml/itemProps3.xml><?xml version="1.0" encoding="utf-8"?>
<ds:datastoreItem xmlns:ds="http://schemas.openxmlformats.org/officeDocument/2006/customXml" ds:itemID="{DAE242FE-3B36-429C-9909-522CC5C452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1ebed6b-ceab-44f2-acf7-1eadfe346bc6"/>
    <ds:schemaRef ds:uri="3dcbc1d8-826d-45ca-8fc8-20a75c088b0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igital</Template>
  <TotalTime>602</TotalTime>
  <Words>2019</Words>
  <Application>Microsoft Macintosh PowerPoint</Application>
  <PresentationFormat>Widescreen</PresentationFormat>
  <Paragraphs>213</Paragraphs>
  <Slides>10</Slides>
  <Notes>10</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10</vt:i4>
      </vt:variant>
    </vt:vector>
  </HeadingPairs>
  <TitlesOfParts>
    <vt:vector size="26" baseType="lpstr">
      <vt:lpstr>Arial</vt:lpstr>
      <vt:lpstr>Calibri</vt:lpstr>
      <vt:lpstr>Calibri Light</vt:lpstr>
      <vt:lpstr>Corbel</vt:lpstr>
      <vt:lpstr>Courier New</vt:lpstr>
      <vt:lpstr>JetBrains Mono</vt:lpstr>
      <vt:lpstr>Lato</vt:lpstr>
      <vt:lpstr>Lato Black</vt:lpstr>
      <vt:lpstr>Lato Light</vt:lpstr>
      <vt:lpstr>Segoe UI Historic</vt:lpstr>
      <vt:lpstr>System Font Regular</vt:lpstr>
      <vt:lpstr>Digital.ai - PPT Template - 10-Apr</vt:lpstr>
      <vt:lpstr>15_Force Management Master</vt:lpstr>
      <vt:lpstr>Force Management Master</vt:lpstr>
      <vt:lpstr>1_Digital.ai - PPT Template - 10-Apr</vt:lpstr>
      <vt:lpstr>think-cell Slide</vt:lpstr>
      <vt:lpstr>PowerPoint Presentation</vt:lpstr>
      <vt:lpstr>Workshop Agenda</vt:lpstr>
      <vt:lpstr>Limitations of current plugin model</vt:lpstr>
      <vt:lpstr>What’s new?</vt:lpstr>
      <vt:lpstr>Digital.ai Release – Current plugin architecture</vt:lpstr>
      <vt:lpstr>Digital.ai Release SDK – Development environment</vt:lpstr>
      <vt:lpstr>Digital.ai Release SDK – Production environment</vt:lpstr>
      <vt:lpstr>System Requirements</vt:lpstr>
      <vt:lpstr>What the SDK is about</vt:lpstr>
      <vt:lpstr>Let’s create a plugi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s Siemelink</dc:creator>
  <cp:lastModifiedBy>Hes Siemelink</cp:lastModifiedBy>
  <cp:revision>4</cp:revision>
  <dcterms:created xsi:type="dcterms:W3CDTF">2023-04-26T06:10:33Z</dcterms:created>
  <dcterms:modified xsi:type="dcterms:W3CDTF">2024-06-14T13:37: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44CD55CC1FA7D479329284FBD1AF51B</vt:lpwstr>
  </property>
  <property fmtid="{D5CDD505-2E9C-101B-9397-08002B2CF9AE}" pid="3" name="MediaServiceImageTags">
    <vt:lpwstr/>
  </property>
</Properties>
</file>